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90" r:id="rId2"/>
    <p:sldMasterId id="2147483846" r:id="rId3"/>
    <p:sldMasterId id="2147483854" r:id="rId4"/>
    <p:sldMasterId id="2147483866" r:id="rId5"/>
  </p:sldMasterIdLst>
  <p:notesMasterIdLst>
    <p:notesMasterId r:id="rId29"/>
  </p:notesMasterIdLst>
  <p:handoutMasterIdLst>
    <p:handoutMasterId r:id="rId30"/>
  </p:handoutMasterIdLst>
  <p:sldIdLst>
    <p:sldId id="352" r:id="rId6"/>
    <p:sldId id="276" r:id="rId7"/>
    <p:sldId id="367" r:id="rId8"/>
    <p:sldId id="359" r:id="rId9"/>
    <p:sldId id="360" r:id="rId10"/>
    <p:sldId id="361" r:id="rId11"/>
    <p:sldId id="362" r:id="rId12"/>
    <p:sldId id="363" r:id="rId13"/>
    <p:sldId id="364" r:id="rId14"/>
    <p:sldId id="350" r:id="rId15"/>
    <p:sldId id="342" r:id="rId16"/>
    <p:sldId id="348" r:id="rId17"/>
    <p:sldId id="358" r:id="rId18"/>
    <p:sldId id="355" r:id="rId19"/>
    <p:sldId id="357" r:id="rId20"/>
    <p:sldId id="349" r:id="rId21"/>
    <p:sldId id="356" r:id="rId22"/>
    <p:sldId id="366" r:id="rId23"/>
    <p:sldId id="365" r:id="rId24"/>
    <p:sldId id="298" r:id="rId25"/>
    <p:sldId id="299" r:id="rId26"/>
    <p:sldId id="353" r:id="rId27"/>
    <p:sldId id="354" r:id="rId28"/>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3433"/>
    <a:srgbClr val="E64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53" autoAdjust="0"/>
    <p:restoredTop sz="94533" autoAdjust="0"/>
  </p:normalViewPr>
  <p:slideViewPr>
    <p:cSldViewPr snapToGrid="0" snapToObjects="1">
      <p:cViewPr varScale="1">
        <p:scale>
          <a:sx n="81" d="100"/>
          <a:sy n="81" d="100"/>
        </p:scale>
        <p:origin x="1134" y="8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p:scale>
          <a:sx n="100" d="100"/>
          <a:sy n="100" d="100"/>
        </p:scale>
        <p:origin x="1890" y="-11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E03BC1-FD86-40E0-A3E8-154E155B11EB}" type="doc">
      <dgm:prSet loTypeId="urn:microsoft.com/office/officeart/2005/8/layout/radial6" loCatId="cycle" qsTypeId="urn:microsoft.com/office/officeart/2005/8/quickstyle/simple1" qsCatId="simple" csTypeId="urn:microsoft.com/office/officeart/2005/8/colors/colorful2" csCatId="colorful" phldr="1"/>
      <dgm:spPr/>
      <dgm:t>
        <a:bodyPr/>
        <a:lstStyle/>
        <a:p>
          <a:endParaRPr lang="en-US"/>
        </a:p>
      </dgm:t>
    </dgm:pt>
    <dgm:pt modelId="{D87F762E-EDDC-4177-8651-BD5F5061D57A}">
      <dgm:prSet phldrT="[Text]"/>
      <dgm:spPr/>
      <dgm:t>
        <a:bodyPr/>
        <a:lstStyle/>
        <a:p>
          <a:r>
            <a:rPr lang="en-US"/>
            <a:t>Data Governance Principles</a:t>
          </a:r>
        </a:p>
      </dgm:t>
    </dgm:pt>
    <dgm:pt modelId="{BAA37DBD-854E-4E3A-8605-43D6E2510CCA}" type="parTrans" cxnId="{6F57CB6C-EF51-477C-864F-E4E5A814DA04}">
      <dgm:prSet/>
      <dgm:spPr/>
      <dgm:t>
        <a:bodyPr/>
        <a:lstStyle/>
        <a:p>
          <a:endParaRPr lang="en-US"/>
        </a:p>
      </dgm:t>
    </dgm:pt>
    <dgm:pt modelId="{CC319DAA-D473-47CB-A29C-D8F7A5A2AC0F}" type="sibTrans" cxnId="{6F57CB6C-EF51-477C-864F-E4E5A814DA04}">
      <dgm:prSet/>
      <dgm:spPr/>
      <dgm:t>
        <a:bodyPr/>
        <a:lstStyle/>
        <a:p>
          <a:endParaRPr lang="en-US"/>
        </a:p>
      </dgm:t>
    </dgm:pt>
    <dgm:pt modelId="{A5509F1B-1D17-4B8A-89B2-8C1299C9EE63}">
      <dgm:prSet phldrT="[Text]"/>
      <dgm:spPr/>
      <dgm:t>
        <a:bodyPr/>
        <a:lstStyle/>
        <a:p>
          <a:r>
            <a:rPr lang="en-US" dirty="0"/>
            <a:t>Liberated</a:t>
          </a:r>
        </a:p>
      </dgm:t>
    </dgm:pt>
    <dgm:pt modelId="{4C2FC3CC-A6F6-469E-9FE3-BD4A50F6A48A}" type="parTrans" cxnId="{97CC5090-AE14-47A8-97E7-7CEAFFDF055D}">
      <dgm:prSet/>
      <dgm:spPr/>
      <dgm:t>
        <a:bodyPr/>
        <a:lstStyle/>
        <a:p>
          <a:endParaRPr lang="en-US"/>
        </a:p>
      </dgm:t>
    </dgm:pt>
    <dgm:pt modelId="{DB25FDA1-5B7B-4D48-B604-F613E40736C7}" type="sibTrans" cxnId="{97CC5090-AE14-47A8-97E7-7CEAFFDF055D}">
      <dgm:prSet/>
      <dgm:spPr/>
      <dgm:t>
        <a:bodyPr/>
        <a:lstStyle/>
        <a:p>
          <a:endParaRPr lang="en-US"/>
        </a:p>
      </dgm:t>
    </dgm:pt>
    <dgm:pt modelId="{F5DE4E3C-D9F7-49AF-958D-8EFA78E8D9A8}">
      <dgm:prSet phldrT="[Text]"/>
      <dgm:spPr/>
      <dgm:t>
        <a:bodyPr/>
        <a:lstStyle/>
        <a:p>
          <a:r>
            <a:rPr lang="en-US"/>
            <a:t>Valued</a:t>
          </a:r>
        </a:p>
      </dgm:t>
    </dgm:pt>
    <dgm:pt modelId="{0F793097-4F19-4A08-9A67-9801DA191038}" type="parTrans" cxnId="{10D28EDD-4AA0-4C2B-9F2D-F566F1F534EA}">
      <dgm:prSet/>
      <dgm:spPr/>
      <dgm:t>
        <a:bodyPr/>
        <a:lstStyle/>
        <a:p>
          <a:endParaRPr lang="en-US"/>
        </a:p>
      </dgm:t>
    </dgm:pt>
    <dgm:pt modelId="{67078CA9-F7D6-4CDC-8E8B-BB569499C6FA}" type="sibTrans" cxnId="{10D28EDD-4AA0-4C2B-9F2D-F566F1F534EA}">
      <dgm:prSet/>
      <dgm:spPr/>
      <dgm:t>
        <a:bodyPr/>
        <a:lstStyle/>
        <a:p>
          <a:endParaRPr lang="en-US"/>
        </a:p>
      </dgm:t>
    </dgm:pt>
    <dgm:pt modelId="{53C114CF-396C-46AB-83E7-0A4793C6AA46}">
      <dgm:prSet phldrT="[Text]"/>
      <dgm:spPr/>
      <dgm:t>
        <a:bodyPr/>
        <a:lstStyle/>
        <a:p>
          <a:r>
            <a:rPr lang="en-US"/>
            <a:t>Reused</a:t>
          </a:r>
        </a:p>
      </dgm:t>
    </dgm:pt>
    <dgm:pt modelId="{CE10146F-F9E7-424A-97D1-FDE2EED423EB}" type="parTrans" cxnId="{52CFE4CB-2915-41DC-B50D-36A5F843E705}">
      <dgm:prSet/>
      <dgm:spPr/>
      <dgm:t>
        <a:bodyPr/>
        <a:lstStyle/>
        <a:p>
          <a:endParaRPr lang="en-US"/>
        </a:p>
      </dgm:t>
    </dgm:pt>
    <dgm:pt modelId="{C6C5DA86-49ED-444D-B8A6-89C88FF02EF5}" type="sibTrans" cxnId="{52CFE4CB-2915-41DC-B50D-36A5F843E705}">
      <dgm:prSet/>
      <dgm:spPr/>
      <dgm:t>
        <a:bodyPr/>
        <a:lstStyle/>
        <a:p>
          <a:endParaRPr lang="en-US"/>
        </a:p>
      </dgm:t>
    </dgm:pt>
    <dgm:pt modelId="{D73A905E-2BA5-46A4-B6CC-7A86D185654D}">
      <dgm:prSet phldrT="[Text]"/>
      <dgm:spPr/>
      <dgm:t>
        <a:bodyPr/>
        <a:lstStyle/>
        <a:p>
          <a:r>
            <a:rPr lang="en-US"/>
            <a:t>Managed</a:t>
          </a:r>
        </a:p>
      </dgm:t>
    </dgm:pt>
    <dgm:pt modelId="{135149BC-CA93-4A21-B497-E0D5874A8A0C}" type="parTrans" cxnId="{2C59DDA7-BC4D-4425-AF6F-4AC7062809F9}">
      <dgm:prSet/>
      <dgm:spPr/>
      <dgm:t>
        <a:bodyPr/>
        <a:lstStyle/>
        <a:p>
          <a:endParaRPr lang="en-US"/>
        </a:p>
      </dgm:t>
    </dgm:pt>
    <dgm:pt modelId="{94E628BA-0279-4066-B6CC-2C105737340D}" type="sibTrans" cxnId="{2C59DDA7-BC4D-4425-AF6F-4AC7062809F9}">
      <dgm:prSet/>
      <dgm:spPr/>
      <dgm:t>
        <a:bodyPr/>
        <a:lstStyle/>
        <a:p>
          <a:endParaRPr lang="en-US"/>
        </a:p>
      </dgm:t>
    </dgm:pt>
    <dgm:pt modelId="{9BDF6EE9-B560-47B0-82A3-D95693726DF6}">
      <dgm:prSet phldrT="[Text]"/>
      <dgm:spPr/>
      <dgm:t>
        <a:bodyPr/>
        <a:lstStyle/>
        <a:p>
          <a:r>
            <a:rPr lang="en-US"/>
            <a:t>Governed</a:t>
          </a:r>
        </a:p>
      </dgm:t>
    </dgm:pt>
    <dgm:pt modelId="{F7A0F1F8-EFAC-4D4D-B985-8750AF3DD1C2}" type="parTrans" cxnId="{95C3002E-199D-4251-9D0B-364E8ACF3385}">
      <dgm:prSet/>
      <dgm:spPr/>
      <dgm:t>
        <a:bodyPr/>
        <a:lstStyle/>
        <a:p>
          <a:endParaRPr lang="en-US"/>
        </a:p>
      </dgm:t>
    </dgm:pt>
    <dgm:pt modelId="{A8578361-90BF-453F-A918-808E224B4905}" type="sibTrans" cxnId="{95C3002E-199D-4251-9D0B-364E8ACF3385}">
      <dgm:prSet/>
      <dgm:spPr/>
      <dgm:t>
        <a:bodyPr/>
        <a:lstStyle/>
        <a:p>
          <a:endParaRPr lang="en-US"/>
        </a:p>
      </dgm:t>
    </dgm:pt>
    <dgm:pt modelId="{EBB4A8E3-558F-43FC-B602-0081146F140C}" type="pres">
      <dgm:prSet presAssocID="{22E03BC1-FD86-40E0-A3E8-154E155B11EB}" presName="Name0" presStyleCnt="0">
        <dgm:presLayoutVars>
          <dgm:chMax val="1"/>
          <dgm:dir/>
          <dgm:animLvl val="ctr"/>
          <dgm:resizeHandles val="exact"/>
        </dgm:presLayoutVars>
      </dgm:prSet>
      <dgm:spPr/>
      <dgm:t>
        <a:bodyPr/>
        <a:lstStyle/>
        <a:p>
          <a:endParaRPr lang="en-US"/>
        </a:p>
      </dgm:t>
    </dgm:pt>
    <dgm:pt modelId="{61DA2753-9751-4E4F-9A5F-2B8FF064C69E}" type="pres">
      <dgm:prSet presAssocID="{D87F762E-EDDC-4177-8651-BD5F5061D57A}" presName="centerShape" presStyleLbl="node0" presStyleIdx="0" presStyleCnt="1"/>
      <dgm:spPr/>
      <dgm:t>
        <a:bodyPr/>
        <a:lstStyle/>
        <a:p>
          <a:endParaRPr lang="en-US"/>
        </a:p>
      </dgm:t>
    </dgm:pt>
    <dgm:pt modelId="{147AA861-F46C-4DBC-A723-5A9B01141597}" type="pres">
      <dgm:prSet presAssocID="{A5509F1B-1D17-4B8A-89B2-8C1299C9EE63}" presName="node" presStyleLbl="node1" presStyleIdx="0" presStyleCnt="5">
        <dgm:presLayoutVars>
          <dgm:bulletEnabled val="1"/>
        </dgm:presLayoutVars>
      </dgm:prSet>
      <dgm:spPr/>
      <dgm:t>
        <a:bodyPr/>
        <a:lstStyle/>
        <a:p>
          <a:endParaRPr lang="en-US"/>
        </a:p>
      </dgm:t>
    </dgm:pt>
    <dgm:pt modelId="{49E0A9CF-D626-4281-BA5D-36664DFEA2CB}" type="pres">
      <dgm:prSet presAssocID="{A5509F1B-1D17-4B8A-89B2-8C1299C9EE63}" presName="dummy" presStyleCnt="0"/>
      <dgm:spPr/>
      <dgm:t>
        <a:bodyPr/>
        <a:lstStyle/>
        <a:p>
          <a:endParaRPr lang="en-AU"/>
        </a:p>
      </dgm:t>
    </dgm:pt>
    <dgm:pt modelId="{465F6C92-636A-4CC9-8326-A4A1B590DDAE}" type="pres">
      <dgm:prSet presAssocID="{DB25FDA1-5B7B-4D48-B604-F613E40736C7}" presName="sibTrans" presStyleLbl="sibTrans2D1" presStyleIdx="0" presStyleCnt="5"/>
      <dgm:spPr/>
      <dgm:t>
        <a:bodyPr/>
        <a:lstStyle/>
        <a:p>
          <a:endParaRPr lang="en-US"/>
        </a:p>
      </dgm:t>
    </dgm:pt>
    <dgm:pt modelId="{4DBB5C70-67BB-48EB-93AE-3B6CFE9875E7}" type="pres">
      <dgm:prSet presAssocID="{F5DE4E3C-D9F7-49AF-958D-8EFA78E8D9A8}" presName="node" presStyleLbl="node1" presStyleIdx="1" presStyleCnt="5">
        <dgm:presLayoutVars>
          <dgm:bulletEnabled val="1"/>
        </dgm:presLayoutVars>
      </dgm:prSet>
      <dgm:spPr/>
      <dgm:t>
        <a:bodyPr/>
        <a:lstStyle/>
        <a:p>
          <a:endParaRPr lang="en-US"/>
        </a:p>
      </dgm:t>
    </dgm:pt>
    <dgm:pt modelId="{77E10DBB-93BD-4A9A-A7CC-1616D41EE232}" type="pres">
      <dgm:prSet presAssocID="{F5DE4E3C-D9F7-49AF-958D-8EFA78E8D9A8}" presName="dummy" presStyleCnt="0"/>
      <dgm:spPr/>
      <dgm:t>
        <a:bodyPr/>
        <a:lstStyle/>
        <a:p>
          <a:endParaRPr lang="en-AU"/>
        </a:p>
      </dgm:t>
    </dgm:pt>
    <dgm:pt modelId="{7106D4E4-0C0A-4C1E-A5A0-0023C841D491}" type="pres">
      <dgm:prSet presAssocID="{67078CA9-F7D6-4CDC-8E8B-BB569499C6FA}" presName="sibTrans" presStyleLbl="sibTrans2D1" presStyleIdx="1" presStyleCnt="5"/>
      <dgm:spPr/>
      <dgm:t>
        <a:bodyPr/>
        <a:lstStyle/>
        <a:p>
          <a:endParaRPr lang="en-US"/>
        </a:p>
      </dgm:t>
    </dgm:pt>
    <dgm:pt modelId="{078863A9-26F2-44C4-BE7C-58594535DD6B}" type="pres">
      <dgm:prSet presAssocID="{53C114CF-396C-46AB-83E7-0A4793C6AA46}" presName="node" presStyleLbl="node1" presStyleIdx="2" presStyleCnt="5">
        <dgm:presLayoutVars>
          <dgm:bulletEnabled val="1"/>
        </dgm:presLayoutVars>
      </dgm:prSet>
      <dgm:spPr/>
      <dgm:t>
        <a:bodyPr/>
        <a:lstStyle/>
        <a:p>
          <a:endParaRPr lang="en-US"/>
        </a:p>
      </dgm:t>
    </dgm:pt>
    <dgm:pt modelId="{114585D2-11BB-440A-8005-94174DA63BA6}" type="pres">
      <dgm:prSet presAssocID="{53C114CF-396C-46AB-83E7-0A4793C6AA46}" presName="dummy" presStyleCnt="0"/>
      <dgm:spPr/>
      <dgm:t>
        <a:bodyPr/>
        <a:lstStyle/>
        <a:p>
          <a:endParaRPr lang="en-AU"/>
        </a:p>
      </dgm:t>
    </dgm:pt>
    <dgm:pt modelId="{1FFAFF43-A14A-4F63-995C-097E1CF9C53F}" type="pres">
      <dgm:prSet presAssocID="{C6C5DA86-49ED-444D-B8A6-89C88FF02EF5}" presName="sibTrans" presStyleLbl="sibTrans2D1" presStyleIdx="2" presStyleCnt="5"/>
      <dgm:spPr/>
      <dgm:t>
        <a:bodyPr/>
        <a:lstStyle/>
        <a:p>
          <a:endParaRPr lang="en-US"/>
        </a:p>
      </dgm:t>
    </dgm:pt>
    <dgm:pt modelId="{017A982E-4074-4B0D-9990-1DADC6475875}" type="pres">
      <dgm:prSet presAssocID="{D73A905E-2BA5-46A4-B6CC-7A86D185654D}" presName="node" presStyleLbl="node1" presStyleIdx="3" presStyleCnt="5">
        <dgm:presLayoutVars>
          <dgm:bulletEnabled val="1"/>
        </dgm:presLayoutVars>
      </dgm:prSet>
      <dgm:spPr/>
      <dgm:t>
        <a:bodyPr/>
        <a:lstStyle/>
        <a:p>
          <a:endParaRPr lang="en-US"/>
        </a:p>
      </dgm:t>
    </dgm:pt>
    <dgm:pt modelId="{9A553F4C-9229-43EF-9A2B-969B8810DF3E}" type="pres">
      <dgm:prSet presAssocID="{D73A905E-2BA5-46A4-B6CC-7A86D185654D}" presName="dummy" presStyleCnt="0"/>
      <dgm:spPr/>
      <dgm:t>
        <a:bodyPr/>
        <a:lstStyle/>
        <a:p>
          <a:endParaRPr lang="en-AU"/>
        </a:p>
      </dgm:t>
    </dgm:pt>
    <dgm:pt modelId="{9931F25F-AF3F-4D1D-869F-3734FD30477A}" type="pres">
      <dgm:prSet presAssocID="{94E628BA-0279-4066-B6CC-2C105737340D}" presName="sibTrans" presStyleLbl="sibTrans2D1" presStyleIdx="3" presStyleCnt="5"/>
      <dgm:spPr/>
      <dgm:t>
        <a:bodyPr/>
        <a:lstStyle/>
        <a:p>
          <a:endParaRPr lang="en-US"/>
        </a:p>
      </dgm:t>
    </dgm:pt>
    <dgm:pt modelId="{118DDA5C-2498-400B-AD81-96D3089E5F36}" type="pres">
      <dgm:prSet presAssocID="{9BDF6EE9-B560-47B0-82A3-D95693726DF6}" presName="node" presStyleLbl="node1" presStyleIdx="4" presStyleCnt="5">
        <dgm:presLayoutVars>
          <dgm:bulletEnabled val="1"/>
        </dgm:presLayoutVars>
      </dgm:prSet>
      <dgm:spPr/>
      <dgm:t>
        <a:bodyPr/>
        <a:lstStyle/>
        <a:p>
          <a:endParaRPr lang="en-US"/>
        </a:p>
      </dgm:t>
    </dgm:pt>
    <dgm:pt modelId="{645ED936-4E68-4F53-A25E-FAB97220CADF}" type="pres">
      <dgm:prSet presAssocID="{9BDF6EE9-B560-47B0-82A3-D95693726DF6}" presName="dummy" presStyleCnt="0"/>
      <dgm:spPr/>
      <dgm:t>
        <a:bodyPr/>
        <a:lstStyle/>
        <a:p>
          <a:endParaRPr lang="en-AU"/>
        </a:p>
      </dgm:t>
    </dgm:pt>
    <dgm:pt modelId="{744CE8F4-2A4E-445B-96E5-145BBCDBD8C7}" type="pres">
      <dgm:prSet presAssocID="{A8578361-90BF-453F-A918-808E224B4905}" presName="sibTrans" presStyleLbl="sibTrans2D1" presStyleIdx="4" presStyleCnt="5"/>
      <dgm:spPr/>
      <dgm:t>
        <a:bodyPr/>
        <a:lstStyle/>
        <a:p>
          <a:endParaRPr lang="en-US"/>
        </a:p>
      </dgm:t>
    </dgm:pt>
  </dgm:ptLst>
  <dgm:cxnLst>
    <dgm:cxn modelId="{10D28EDD-4AA0-4C2B-9F2D-F566F1F534EA}" srcId="{D87F762E-EDDC-4177-8651-BD5F5061D57A}" destId="{F5DE4E3C-D9F7-49AF-958D-8EFA78E8D9A8}" srcOrd="1" destOrd="0" parTransId="{0F793097-4F19-4A08-9A67-9801DA191038}" sibTransId="{67078CA9-F7D6-4CDC-8E8B-BB569499C6FA}"/>
    <dgm:cxn modelId="{52CFE4CB-2915-41DC-B50D-36A5F843E705}" srcId="{D87F762E-EDDC-4177-8651-BD5F5061D57A}" destId="{53C114CF-396C-46AB-83E7-0A4793C6AA46}" srcOrd="2" destOrd="0" parTransId="{CE10146F-F9E7-424A-97D1-FDE2EED423EB}" sibTransId="{C6C5DA86-49ED-444D-B8A6-89C88FF02EF5}"/>
    <dgm:cxn modelId="{88AD446E-BA2E-49BD-99EB-B76482215887}" type="presOf" srcId="{A8578361-90BF-453F-A918-808E224B4905}" destId="{744CE8F4-2A4E-445B-96E5-145BBCDBD8C7}" srcOrd="0" destOrd="0" presId="urn:microsoft.com/office/officeart/2005/8/layout/radial6"/>
    <dgm:cxn modelId="{7040B8C9-4422-454F-AE3D-5938DABD354E}" type="presOf" srcId="{67078CA9-F7D6-4CDC-8E8B-BB569499C6FA}" destId="{7106D4E4-0C0A-4C1E-A5A0-0023C841D491}" srcOrd="0" destOrd="0" presId="urn:microsoft.com/office/officeart/2005/8/layout/radial6"/>
    <dgm:cxn modelId="{E561C786-7C47-4E43-8E0D-4AA65B4A6AD9}" type="presOf" srcId="{22E03BC1-FD86-40E0-A3E8-154E155B11EB}" destId="{EBB4A8E3-558F-43FC-B602-0081146F140C}" srcOrd="0" destOrd="0" presId="urn:microsoft.com/office/officeart/2005/8/layout/radial6"/>
    <dgm:cxn modelId="{E85E770B-73E8-4E83-A2B4-8C400044D09F}" type="presOf" srcId="{D73A905E-2BA5-46A4-B6CC-7A86D185654D}" destId="{017A982E-4074-4B0D-9990-1DADC6475875}" srcOrd="0" destOrd="0" presId="urn:microsoft.com/office/officeart/2005/8/layout/radial6"/>
    <dgm:cxn modelId="{45507737-8F3F-488F-9000-526248FB7D41}" type="presOf" srcId="{F5DE4E3C-D9F7-49AF-958D-8EFA78E8D9A8}" destId="{4DBB5C70-67BB-48EB-93AE-3B6CFE9875E7}" srcOrd="0" destOrd="0" presId="urn:microsoft.com/office/officeart/2005/8/layout/radial6"/>
    <dgm:cxn modelId="{FC3CFCE8-1EE9-4256-9BE9-62342FBAAEEB}" type="presOf" srcId="{C6C5DA86-49ED-444D-B8A6-89C88FF02EF5}" destId="{1FFAFF43-A14A-4F63-995C-097E1CF9C53F}" srcOrd="0" destOrd="0" presId="urn:microsoft.com/office/officeart/2005/8/layout/radial6"/>
    <dgm:cxn modelId="{95C3002E-199D-4251-9D0B-364E8ACF3385}" srcId="{D87F762E-EDDC-4177-8651-BD5F5061D57A}" destId="{9BDF6EE9-B560-47B0-82A3-D95693726DF6}" srcOrd="4" destOrd="0" parTransId="{F7A0F1F8-EFAC-4D4D-B985-8750AF3DD1C2}" sibTransId="{A8578361-90BF-453F-A918-808E224B4905}"/>
    <dgm:cxn modelId="{9E569DDF-92E3-4E33-B7C9-6987EC982D75}" type="presOf" srcId="{DB25FDA1-5B7B-4D48-B604-F613E40736C7}" destId="{465F6C92-636A-4CC9-8326-A4A1B590DDAE}" srcOrd="0" destOrd="0" presId="urn:microsoft.com/office/officeart/2005/8/layout/radial6"/>
    <dgm:cxn modelId="{057DA9C9-6BE4-4509-82B5-56ECC1F52366}" type="presOf" srcId="{9BDF6EE9-B560-47B0-82A3-D95693726DF6}" destId="{118DDA5C-2498-400B-AD81-96D3089E5F36}" srcOrd="0" destOrd="0" presId="urn:microsoft.com/office/officeart/2005/8/layout/radial6"/>
    <dgm:cxn modelId="{6F57CB6C-EF51-477C-864F-E4E5A814DA04}" srcId="{22E03BC1-FD86-40E0-A3E8-154E155B11EB}" destId="{D87F762E-EDDC-4177-8651-BD5F5061D57A}" srcOrd="0" destOrd="0" parTransId="{BAA37DBD-854E-4E3A-8605-43D6E2510CCA}" sibTransId="{CC319DAA-D473-47CB-A29C-D8F7A5A2AC0F}"/>
    <dgm:cxn modelId="{97CC5090-AE14-47A8-97E7-7CEAFFDF055D}" srcId="{D87F762E-EDDC-4177-8651-BD5F5061D57A}" destId="{A5509F1B-1D17-4B8A-89B2-8C1299C9EE63}" srcOrd="0" destOrd="0" parTransId="{4C2FC3CC-A6F6-469E-9FE3-BD4A50F6A48A}" sibTransId="{DB25FDA1-5B7B-4D48-B604-F613E40736C7}"/>
    <dgm:cxn modelId="{12FEFE59-81F7-465B-8E5E-2933A798C8F3}" type="presOf" srcId="{A5509F1B-1D17-4B8A-89B2-8C1299C9EE63}" destId="{147AA861-F46C-4DBC-A723-5A9B01141597}" srcOrd="0" destOrd="0" presId="urn:microsoft.com/office/officeart/2005/8/layout/radial6"/>
    <dgm:cxn modelId="{FF832771-F3DE-4331-A010-37ED5CF5C0D2}" type="presOf" srcId="{94E628BA-0279-4066-B6CC-2C105737340D}" destId="{9931F25F-AF3F-4D1D-869F-3734FD30477A}" srcOrd="0" destOrd="0" presId="urn:microsoft.com/office/officeart/2005/8/layout/radial6"/>
    <dgm:cxn modelId="{CAE50FF4-6383-4039-B421-8B8C42E54F81}" type="presOf" srcId="{D87F762E-EDDC-4177-8651-BD5F5061D57A}" destId="{61DA2753-9751-4E4F-9A5F-2B8FF064C69E}" srcOrd="0" destOrd="0" presId="urn:microsoft.com/office/officeart/2005/8/layout/radial6"/>
    <dgm:cxn modelId="{2C59DDA7-BC4D-4425-AF6F-4AC7062809F9}" srcId="{D87F762E-EDDC-4177-8651-BD5F5061D57A}" destId="{D73A905E-2BA5-46A4-B6CC-7A86D185654D}" srcOrd="3" destOrd="0" parTransId="{135149BC-CA93-4A21-B497-E0D5874A8A0C}" sibTransId="{94E628BA-0279-4066-B6CC-2C105737340D}"/>
    <dgm:cxn modelId="{C2627A6C-1DD9-442A-A1D2-040089073A4B}" type="presOf" srcId="{53C114CF-396C-46AB-83E7-0A4793C6AA46}" destId="{078863A9-26F2-44C4-BE7C-58594535DD6B}" srcOrd="0" destOrd="0" presId="urn:microsoft.com/office/officeart/2005/8/layout/radial6"/>
    <dgm:cxn modelId="{562450D5-343C-43E4-A962-B13F72147692}" type="presParOf" srcId="{EBB4A8E3-558F-43FC-B602-0081146F140C}" destId="{61DA2753-9751-4E4F-9A5F-2B8FF064C69E}" srcOrd="0" destOrd="0" presId="urn:microsoft.com/office/officeart/2005/8/layout/radial6"/>
    <dgm:cxn modelId="{30DB018F-D302-4FE7-A83E-46DCA6FC5AE8}" type="presParOf" srcId="{EBB4A8E3-558F-43FC-B602-0081146F140C}" destId="{147AA861-F46C-4DBC-A723-5A9B01141597}" srcOrd="1" destOrd="0" presId="urn:microsoft.com/office/officeart/2005/8/layout/radial6"/>
    <dgm:cxn modelId="{D8BF01A8-7E1C-41CB-ABBB-D2AEA1113C4B}" type="presParOf" srcId="{EBB4A8E3-558F-43FC-B602-0081146F140C}" destId="{49E0A9CF-D626-4281-BA5D-36664DFEA2CB}" srcOrd="2" destOrd="0" presId="urn:microsoft.com/office/officeart/2005/8/layout/radial6"/>
    <dgm:cxn modelId="{9E02DE32-E0A6-4598-B4AF-49BB1346D31B}" type="presParOf" srcId="{EBB4A8E3-558F-43FC-B602-0081146F140C}" destId="{465F6C92-636A-4CC9-8326-A4A1B590DDAE}" srcOrd="3" destOrd="0" presId="urn:microsoft.com/office/officeart/2005/8/layout/radial6"/>
    <dgm:cxn modelId="{63F5E31B-ED05-4B91-8C4A-605417ED88FD}" type="presParOf" srcId="{EBB4A8E3-558F-43FC-B602-0081146F140C}" destId="{4DBB5C70-67BB-48EB-93AE-3B6CFE9875E7}" srcOrd="4" destOrd="0" presId="urn:microsoft.com/office/officeart/2005/8/layout/radial6"/>
    <dgm:cxn modelId="{12B82C2A-64ED-4B73-97C5-E07A1CD3F4C6}" type="presParOf" srcId="{EBB4A8E3-558F-43FC-B602-0081146F140C}" destId="{77E10DBB-93BD-4A9A-A7CC-1616D41EE232}" srcOrd="5" destOrd="0" presId="urn:microsoft.com/office/officeart/2005/8/layout/radial6"/>
    <dgm:cxn modelId="{7B24B5A8-0BD8-4448-9483-7404847CE475}" type="presParOf" srcId="{EBB4A8E3-558F-43FC-B602-0081146F140C}" destId="{7106D4E4-0C0A-4C1E-A5A0-0023C841D491}" srcOrd="6" destOrd="0" presId="urn:microsoft.com/office/officeart/2005/8/layout/radial6"/>
    <dgm:cxn modelId="{121C84A3-FD35-4BF5-AFD4-ED7C8B933CC1}" type="presParOf" srcId="{EBB4A8E3-558F-43FC-B602-0081146F140C}" destId="{078863A9-26F2-44C4-BE7C-58594535DD6B}" srcOrd="7" destOrd="0" presId="urn:microsoft.com/office/officeart/2005/8/layout/radial6"/>
    <dgm:cxn modelId="{6D9243B4-4B1A-4FB7-987B-7936F6789368}" type="presParOf" srcId="{EBB4A8E3-558F-43FC-B602-0081146F140C}" destId="{114585D2-11BB-440A-8005-94174DA63BA6}" srcOrd="8" destOrd="0" presId="urn:microsoft.com/office/officeart/2005/8/layout/radial6"/>
    <dgm:cxn modelId="{01E39699-734D-418F-B1FD-2099BB94C7EB}" type="presParOf" srcId="{EBB4A8E3-558F-43FC-B602-0081146F140C}" destId="{1FFAFF43-A14A-4F63-995C-097E1CF9C53F}" srcOrd="9" destOrd="0" presId="urn:microsoft.com/office/officeart/2005/8/layout/radial6"/>
    <dgm:cxn modelId="{BB3E52AD-9646-40FE-BFC1-49A03BE728F7}" type="presParOf" srcId="{EBB4A8E3-558F-43FC-B602-0081146F140C}" destId="{017A982E-4074-4B0D-9990-1DADC6475875}" srcOrd="10" destOrd="0" presId="urn:microsoft.com/office/officeart/2005/8/layout/radial6"/>
    <dgm:cxn modelId="{406FBD3E-BBEE-48AF-A547-E1C89856FC0F}" type="presParOf" srcId="{EBB4A8E3-558F-43FC-B602-0081146F140C}" destId="{9A553F4C-9229-43EF-9A2B-969B8810DF3E}" srcOrd="11" destOrd="0" presId="urn:microsoft.com/office/officeart/2005/8/layout/radial6"/>
    <dgm:cxn modelId="{2BED1895-2D59-473D-9FDF-3D7091169AC4}" type="presParOf" srcId="{EBB4A8E3-558F-43FC-B602-0081146F140C}" destId="{9931F25F-AF3F-4D1D-869F-3734FD30477A}" srcOrd="12" destOrd="0" presId="urn:microsoft.com/office/officeart/2005/8/layout/radial6"/>
    <dgm:cxn modelId="{1272FF5A-1331-46ED-88E4-3BDF19BBEF50}" type="presParOf" srcId="{EBB4A8E3-558F-43FC-B602-0081146F140C}" destId="{118DDA5C-2498-400B-AD81-96D3089E5F36}" srcOrd="13" destOrd="0" presId="urn:microsoft.com/office/officeart/2005/8/layout/radial6"/>
    <dgm:cxn modelId="{D47C9D1A-1579-49E2-9742-B31C0A4F62AC}" type="presParOf" srcId="{EBB4A8E3-558F-43FC-B602-0081146F140C}" destId="{645ED936-4E68-4F53-A25E-FAB97220CADF}" srcOrd="14" destOrd="0" presId="urn:microsoft.com/office/officeart/2005/8/layout/radial6"/>
    <dgm:cxn modelId="{37974124-8FE6-4EA9-9CF8-E704419DB584}" type="presParOf" srcId="{EBB4A8E3-558F-43FC-B602-0081146F140C}" destId="{744CE8F4-2A4E-445B-96E5-145BBCDBD8C7}"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4CE8F4-2A4E-445B-96E5-145BBCDBD8C7}">
      <dsp:nvSpPr>
        <dsp:cNvPr id="0" name=""/>
        <dsp:cNvSpPr/>
      </dsp:nvSpPr>
      <dsp:spPr>
        <a:xfrm>
          <a:off x="1697126" y="501155"/>
          <a:ext cx="3349446" cy="3349446"/>
        </a:xfrm>
        <a:prstGeom prst="blockArc">
          <a:avLst>
            <a:gd name="adj1" fmla="val 11880000"/>
            <a:gd name="adj2" fmla="val 16200000"/>
            <a:gd name="adj3" fmla="val 4638"/>
          </a:avLst>
        </a:prstGeom>
        <a:solidFill>
          <a:schemeClr val="accent2">
            <a:hueOff val="0"/>
            <a:satOff val="0"/>
            <a:lumOff val="-2039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931F25F-AF3F-4D1D-869F-3734FD30477A}">
      <dsp:nvSpPr>
        <dsp:cNvPr id="0" name=""/>
        <dsp:cNvSpPr/>
      </dsp:nvSpPr>
      <dsp:spPr>
        <a:xfrm>
          <a:off x="1697126" y="501155"/>
          <a:ext cx="3349446" cy="3349446"/>
        </a:xfrm>
        <a:prstGeom prst="blockArc">
          <a:avLst>
            <a:gd name="adj1" fmla="val 7560000"/>
            <a:gd name="adj2" fmla="val 11880000"/>
            <a:gd name="adj3" fmla="val 4638"/>
          </a:avLst>
        </a:prstGeom>
        <a:solidFill>
          <a:schemeClr val="accent2">
            <a:hueOff val="0"/>
            <a:satOff val="0"/>
            <a:lumOff val="-1529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FAFF43-A14A-4F63-995C-097E1CF9C53F}">
      <dsp:nvSpPr>
        <dsp:cNvPr id="0" name=""/>
        <dsp:cNvSpPr/>
      </dsp:nvSpPr>
      <dsp:spPr>
        <a:xfrm>
          <a:off x="1697126" y="501155"/>
          <a:ext cx="3349446" cy="3349446"/>
        </a:xfrm>
        <a:prstGeom prst="blockArc">
          <a:avLst>
            <a:gd name="adj1" fmla="val 3240000"/>
            <a:gd name="adj2" fmla="val 7560000"/>
            <a:gd name="adj3" fmla="val 4638"/>
          </a:avLst>
        </a:prstGeom>
        <a:solidFill>
          <a:schemeClr val="accent2">
            <a:hueOff val="0"/>
            <a:satOff val="0"/>
            <a:lumOff val="-1019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106D4E4-0C0A-4C1E-A5A0-0023C841D491}">
      <dsp:nvSpPr>
        <dsp:cNvPr id="0" name=""/>
        <dsp:cNvSpPr/>
      </dsp:nvSpPr>
      <dsp:spPr>
        <a:xfrm>
          <a:off x="1697126" y="501155"/>
          <a:ext cx="3349446" cy="3349446"/>
        </a:xfrm>
        <a:prstGeom prst="blockArc">
          <a:avLst>
            <a:gd name="adj1" fmla="val 20520000"/>
            <a:gd name="adj2" fmla="val 3240000"/>
            <a:gd name="adj3" fmla="val 4638"/>
          </a:avLst>
        </a:prstGeom>
        <a:solidFill>
          <a:schemeClr val="accent2">
            <a:hueOff val="0"/>
            <a:satOff val="0"/>
            <a:lumOff val="-50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65F6C92-636A-4CC9-8326-A4A1B590DDAE}">
      <dsp:nvSpPr>
        <dsp:cNvPr id="0" name=""/>
        <dsp:cNvSpPr/>
      </dsp:nvSpPr>
      <dsp:spPr>
        <a:xfrm>
          <a:off x="1697126" y="501155"/>
          <a:ext cx="3349446" cy="3349446"/>
        </a:xfrm>
        <a:prstGeom prst="blockArc">
          <a:avLst>
            <a:gd name="adj1" fmla="val 16200000"/>
            <a:gd name="adj2" fmla="val 20520000"/>
            <a:gd name="adj3" fmla="val 4638"/>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1DA2753-9751-4E4F-9A5F-2B8FF064C69E}">
      <dsp:nvSpPr>
        <dsp:cNvPr id="0" name=""/>
        <dsp:cNvSpPr/>
      </dsp:nvSpPr>
      <dsp:spPr>
        <a:xfrm>
          <a:off x="2601329" y="1405358"/>
          <a:ext cx="1541040" cy="15410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a:t>Data Governance Principles</a:t>
          </a:r>
        </a:p>
      </dsp:txBody>
      <dsp:txXfrm>
        <a:off x="2827009" y="1631038"/>
        <a:ext cx="1089680" cy="1089680"/>
      </dsp:txXfrm>
    </dsp:sp>
    <dsp:sp modelId="{147AA861-F46C-4DBC-A723-5A9B01141597}">
      <dsp:nvSpPr>
        <dsp:cNvPr id="0" name=""/>
        <dsp:cNvSpPr/>
      </dsp:nvSpPr>
      <dsp:spPr>
        <a:xfrm>
          <a:off x="2832485" y="625"/>
          <a:ext cx="1078728" cy="1078728"/>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a:t>Liberated</a:t>
          </a:r>
        </a:p>
      </dsp:txBody>
      <dsp:txXfrm>
        <a:off x="2990461" y="158601"/>
        <a:ext cx="762776" cy="762776"/>
      </dsp:txXfrm>
    </dsp:sp>
    <dsp:sp modelId="{4DBB5C70-67BB-48EB-93AE-3B6CFE9875E7}">
      <dsp:nvSpPr>
        <dsp:cNvPr id="0" name=""/>
        <dsp:cNvSpPr/>
      </dsp:nvSpPr>
      <dsp:spPr>
        <a:xfrm>
          <a:off x="4388308" y="1130997"/>
          <a:ext cx="1078728" cy="1078728"/>
        </a:xfrm>
        <a:prstGeom prst="ellipse">
          <a:avLst/>
        </a:prstGeom>
        <a:solidFill>
          <a:schemeClr val="accent2">
            <a:hueOff val="0"/>
            <a:satOff val="0"/>
            <a:lumOff val="-509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a:t>Valued</a:t>
          </a:r>
        </a:p>
      </dsp:txBody>
      <dsp:txXfrm>
        <a:off x="4546284" y="1288973"/>
        <a:ext cx="762776" cy="762776"/>
      </dsp:txXfrm>
    </dsp:sp>
    <dsp:sp modelId="{078863A9-26F2-44C4-BE7C-58594535DD6B}">
      <dsp:nvSpPr>
        <dsp:cNvPr id="0" name=""/>
        <dsp:cNvSpPr/>
      </dsp:nvSpPr>
      <dsp:spPr>
        <a:xfrm>
          <a:off x="3794037" y="2959976"/>
          <a:ext cx="1078728" cy="1078728"/>
        </a:xfrm>
        <a:prstGeom prst="ellipse">
          <a:avLst/>
        </a:prstGeom>
        <a:solidFill>
          <a:schemeClr val="accent2">
            <a:hueOff val="0"/>
            <a:satOff val="0"/>
            <a:lumOff val="-10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a:t>Reused</a:t>
          </a:r>
        </a:p>
      </dsp:txBody>
      <dsp:txXfrm>
        <a:off x="3952013" y="3117952"/>
        <a:ext cx="762776" cy="762776"/>
      </dsp:txXfrm>
    </dsp:sp>
    <dsp:sp modelId="{017A982E-4074-4B0D-9990-1DADC6475875}">
      <dsp:nvSpPr>
        <dsp:cNvPr id="0" name=""/>
        <dsp:cNvSpPr/>
      </dsp:nvSpPr>
      <dsp:spPr>
        <a:xfrm>
          <a:off x="1870934" y="2959976"/>
          <a:ext cx="1078728" cy="1078728"/>
        </a:xfrm>
        <a:prstGeom prst="ellipse">
          <a:avLst/>
        </a:prstGeom>
        <a:solidFill>
          <a:schemeClr val="accent2">
            <a:hueOff val="0"/>
            <a:satOff val="0"/>
            <a:lumOff val="-15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a:t>Managed</a:t>
          </a:r>
        </a:p>
      </dsp:txBody>
      <dsp:txXfrm>
        <a:off x="2028910" y="3117952"/>
        <a:ext cx="762776" cy="762776"/>
      </dsp:txXfrm>
    </dsp:sp>
    <dsp:sp modelId="{118DDA5C-2498-400B-AD81-96D3089E5F36}">
      <dsp:nvSpPr>
        <dsp:cNvPr id="0" name=""/>
        <dsp:cNvSpPr/>
      </dsp:nvSpPr>
      <dsp:spPr>
        <a:xfrm>
          <a:off x="1276662" y="1130997"/>
          <a:ext cx="1078728" cy="1078728"/>
        </a:xfrm>
        <a:prstGeom prst="ellipse">
          <a:avLst/>
        </a:prstGeom>
        <a:solidFill>
          <a:schemeClr val="accent2">
            <a:hueOff val="0"/>
            <a:satOff val="0"/>
            <a:lumOff val="-2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a:t>Governed</a:t>
          </a:r>
        </a:p>
      </dsp:txBody>
      <dsp:txXfrm>
        <a:off x="1434638" y="1288973"/>
        <a:ext cx="762776" cy="762776"/>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F27B51-57A6-844B-9DA7-683C5F8607D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BBA62AA-0342-CF43-B481-DA114DAADB6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DA335CD-1F04-BE47-B798-E7E5B302FEE2}" type="datetimeFigureOut">
              <a:rPr lang="en-US" smtClean="0"/>
              <a:t>10/10/2019</a:t>
            </a:fld>
            <a:endParaRPr lang="en-US"/>
          </a:p>
        </p:txBody>
      </p:sp>
      <p:sp>
        <p:nvSpPr>
          <p:cNvPr id="4" name="Footer Placeholder 3">
            <a:extLst>
              <a:ext uri="{FF2B5EF4-FFF2-40B4-BE49-F238E27FC236}">
                <a16:creationId xmlns:a16="http://schemas.microsoft.com/office/drawing/2014/main" id="{D8E65384-F942-4A49-B542-FADCC09BE0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A0E53E6-90B7-1543-B38F-5BA5C6BC36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FC9C213-2A45-3B47-88D6-254185129B62}" type="slidenum">
              <a:rPr lang="en-US" smtClean="0"/>
              <a:t>‹#›</a:t>
            </a:fld>
            <a:endParaRPr lang="en-US"/>
          </a:p>
        </p:txBody>
      </p:sp>
    </p:spTree>
    <p:extLst>
      <p:ext uri="{BB962C8B-B14F-4D97-AF65-F5344CB8AC3E}">
        <p14:creationId xmlns:p14="http://schemas.microsoft.com/office/powerpoint/2010/main" val="3954518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F5B07A-87A9-CF40-86D9-D2F6BB28DC45}" type="datetimeFigureOut">
              <a:rPr lang="en-US" smtClean="0"/>
              <a:t>10/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A0A316-D1E1-9745-B24E-D11400EED8A1}" type="slidenum">
              <a:rPr lang="en-US" smtClean="0"/>
              <a:t>‹#›</a:t>
            </a:fld>
            <a:endParaRPr lang="en-US"/>
          </a:p>
        </p:txBody>
      </p:sp>
    </p:spTree>
    <p:extLst>
      <p:ext uri="{BB962C8B-B14F-4D97-AF65-F5344CB8AC3E}">
        <p14:creationId xmlns:p14="http://schemas.microsoft.com/office/powerpoint/2010/main" val="654163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a:t>
            </a:fld>
            <a:endParaRPr lang="en-US"/>
          </a:p>
        </p:txBody>
      </p:sp>
    </p:spTree>
    <p:extLst>
      <p:ext uri="{BB962C8B-B14F-4D97-AF65-F5344CB8AC3E}">
        <p14:creationId xmlns:p14="http://schemas.microsoft.com/office/powerpoint/2010/main" val="4228811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1</a:t>
            </a:fld>
            <a:endParaRPr lang="en-US"/>
          </a:p>
        </p:txBody>
      </p:sp>
    </p:spTree>
    <p:extLst>
      <p:ext uri="{BB962C8B-B14F-4D97-AF65-F5344CB8AC3E}">
        <p14:creationId xmlns:p14="http://schemas.microsoft.com/office/powerpoint/2010/main" val="1673886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2</a:t>
            </a:fld>
            <a:endParaRPr lang="en-US"/>
          </a:p>
        </p:txBody>
      </p:sp>
    </p:spTree>
    <p:extLst>
      <p:ext uri="{BB962C8B-B14F-4D97-AF65-F5344CB8AC3E}">
        <p14:creationId xmlns:p14="http://schemas.microsoft.com/office/powerpoint/2010/main" val="283731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B43D19E-BFDB-4C92-8EDD-32EDDA8F41DF}"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2382709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AU" dirty="0"/>
          </a:p>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4</a:t>
            </a:fld>
            <a:endParaRPr lang="en-US"/>
          </a:p>
        </p:txBody>
      </p:sp>
    </p:spTree>
    <p:extLst>
      <p:ext uri="{BB962C8B-B14F-4D97-AF65-F5344CB8AC3E}">
        <p14:creationId xmlns:p14="http://schemas.microsoft.com/office/powerpoint/2010/main" val="670205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7D32AFE0-0121-4859-B0F8-2434052B8CF0}" type="slidenum">
              <a:rPr lang="en-AU" smtClean="0"/>
              <a:t>15</a:t>
            </a:fld>
            <a:endParaRPr lang="en-AU"/>
          </a:p>
        </p:txBody>
      </p:sp>
    </p:spTree>
    <p:extLst>
      <p:ext uri="{BB962C8B-B14F-4D97-AF65-F5344CB8AC3E}">
        <p14:creationId xmlns:p14="http://schemas.microsoft.com/office/powerpoint/2010/main" val="1456444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a:p>
            <a:endParaRPr lang="en-AU" dirty="0"/>
          </a:p>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6</a:t>
            </a:fld>
            <a:endParaRPr lang="en-US"/>
          </a:p>
        </p:txBody>
      </p:sp>
    </p:spTree>
    <p:extLst>
      <p:ext uri="{BB962C8B-B14F-4D97-AF65-F5344CB8AC3E}">
        <p14:creationId xmlns:p14="http://schemas.microsoft.com/office/powerpoint/2010/main" val="721201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7D32AFE0-0121-4859-B0F8-2434052B8CF0}" type="slidenum">
              <a:rPr lang="en-AU" smtClean="0"/>
              <a:t>17</a:t>
            </a:fld>
            <a:endParaRPr lang="en-AU"/>
          </a:p>
        </p:txBody>
      </p:sp>
    </p:spTree>
    <p:extLst>
      <p:ext uri="{BB962C8B-B14F-4D97-AF65-F5344CB8AC3E}">
        <p14:creationId xmlns:p14="http://schemas.microsoft.com/office/powerpoint/2010/main" val="815193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8</a:t>
            </a:fld>
            <a:endParaRPr lang="en-US"/>
          </a:p>
        </p:txBody>
      </p:sp>
    </p:spTree>
    <p:extLst>
      <p:ext uri="{BB962C8B-B14F-4D97-AF65-F5344CB8AC3E}">
        <p14:creationId xmlns:p14="http://schemas.microsoft.com/office/powerpoint/2010/main" val="3109229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19</a:t>
            </a:fld>
            <a:endParaRPr lang="en-US"/>
          </a:p>
        </p:txBody>
      </p:sp>
    </p:spTree>
    <p:extLst>
      <p:ext uri="{BB962C8B-B14F-4D97-AF65-F5344CB8AC3E}">
        <p14:creationId xmlns:p14="http://schemas.microsoft.com/office/powerpoint/2010/main" val="447446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20</a:t>
            </a:fld>
            <a:endParaRPr lang="en-US"/>
          </a:p>
        </p:txBody>
      </p:sp>
    </p:spTree>
    <p:extLst>
      <p:ext uri="{BB962C8B-B14F-4D97-AF65-F5344CB8AC3E}">
        <p14:creationId xmlns:p14="http://schemas.microsoft.com/office/powerpoint/2010/main" val="2390009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2</a:t>
            </a:fld>
            <a:endParaRPr lang="en-US"/>
          </a:p>
        </p:txBody>
      </p:sp>
    </p:spTree>
    <p:extLst>
      <p:ext uri="{BB962C8B-B14F-4D97-AF65-F5344CB8AC3E}">
        <p14:creationId xmlns:p14="http://schemas.microsoft.com/office/powerpoint/2010/main" val="41939117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21</a:t>
            </a:fld>
            <a:endParaRPr lang="en-US"/>
          </a:p>
        </p:txBody>
      </p:sp>
    </p:spTree>
    <p:extLst>
      <p:ext uri="{BB962C8B-B14F-4D97-AF65-F5344CB8AC3E}">
        <p14:creationId xmlns:p14="http://schemas.microsoft.com/office/powerpoint/2010/main" val="3657133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22</a:t>
            </a:fld>
            <a:endParaRPr lang="en-US"/>
          </a:p>
        </p:txBody>
      </p:sp>
    </p:spTree>
    <p:extLst>
      <p:ext uri="{BB962C8B-B14F-4D97-AF65-F5344CB8AC3E}">
        <p14:creationId xmlns:p14="http://schemas.microsoft.com/office/powerpoint/2010/main" val="2303338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23</a:t>
            </a:fld>
            <a:endParaRPr lang="en-US"/>
          </a:p>
        </p:txBody>
      </p:sp>
    </p:spTree>
    <p:extLst>
      <p:ext uri="{BB962C8B-B14F-4D97-AF65-F5344CB8AC3E}">
        <p14:creationId xmlns:p14="http://schemas.microsoft.com/office/powerpoint/2010/main" val="4060352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4</a:t>
            </a:fld>
            <a:endParaRPr lang="en-US"/>
          </a:p>
        </p:txBody>
      </p:sp>
    </p:spTree>
    <p:extLst>
      <p:ext uri="{BB962C8B-B14F-4D97-AF65-F5344CB8AC3E}">
        <p14:creationId xmlns:p14="http://schemas.microsoft.com/office/powerpoint/2010/main" val="1526559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5</a:t>
            </a:fld>
            <a:endParaRPr lang="en-US"/>
          </a:p>
        </p:txBody>
      </p:sp>
    </p:spTree>
    <p:extLst>
      <p:ext uri="{BB962C8B-B14F-4D97-AF65-F5344CB8AC3E}">
        <p14:creationId xmlns:p14="http://schemas.microsoft.com/office/powerpoint/2010/main" val="1210823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6</a:t>
            </a:fld>
            <a:endParaRPr lang="en-US"/>
          </a:p>
        </p:txBody>
      </p:sp>
    </p:spTree>
    <p:extLst>
      <p:ext uri="{BB962C8B-B14F-4D97-AF65-F5344CB8AC3E}">
        <p14:creationId xmlns:p14="http://schemas.microsoft.com/office/powerpoint/2010/main" val="3939000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7</a:t>
            </a:fld>
            <a:endParaRPr lang="en-US"/>
          </a:p>
        </p:txBody>
      </p:sp>
    </p:spTree>
    <p:extLst>
      <p:ext uri="{BB962C8B-B14F-4D97-AF65-F5344CB8AC3E}">
        <p14:creationId xmlns:p14="http://schemas.microsoft.com/office/powerpoint/2010/main" val="4225209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8</a:t>
            </a:fld>
            <a:endParaRPr lang="en-US"/>
          </a:p>
        </p:txBody>
      </p:sp>
    </p:spTree>
    <p:extLst>
      <p:ext uri="{BB962C8B-B14F-4D97-AF65-F5344CB8AC3E}">
        <p14:creationId xmlns:p14="http://schemas.microsoft.com/office/powerpoint/2010/main" val="3065123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BCA0A316-D1E1-9745-B24E-D11400EED8A1}" type="slidenum">
              <a:rPr lang="en-US" smtClean="0"/>
              <a:t>9</a:t>
            </a:fld>
            <a:endParaRPr lang="en-US"/>
          </a:p>
        </p:txBody>
      </p:sp>
    </p:spTree>
    <p:extLst>
      <p:ext uri="{BB962C8B-B14F-4D97-AF65-F5344CB8AC3E}">
        <p14:creationId xmlns:p14="http://schemas.microsoft.com/office/powerpoint/2010/main" val="975885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CA0A316-D1E1-9745-B24E-D11400EED8A1}" type="slidenum">
              <a:rPr lang="en-US" smtClean="0"/>
              <a:t>10</a:t>
            </a:fld>
            <a:endParaRPr lang="en-US"/>
          </a:p>
        </p:txBody>
      </p:sp>
    </p:spTree>
    <p:extLst>
      <p:ext uri="{BB962C8B-B14F-4D97-AF65-F5344CB8AC3E}">
        <p14:creationId xmlns:p14="http://schemas.microsoft.com/office/powerpoint/2010/main" val="91665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 pa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4500A79-0634-4748-9CDB-C8DCF309B62F}"/>
              </a:ext>
            </a:extLst>
          </p:cNvPr>
          <p:cNvSpPr/>
          <p:nvPr userDrawn="1"/>
        </p:nvSpPr>
        <p:spPr>
          <a:xfrm>
            <a:off x="0" y="0"/>
            <a:ext cx="9143999"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2"/>
          <a:stretch>
            <a:fillRect/>
          </a:stretch>
        </p:blipFill>
        <p:spPr>
          <a:xfrm>
            <a:off x="3084192" y="2057131"/>
            <a:ext cx="2975616" cy="1029237"/>
          </a:xfrm>
          <a:prstGeom prst="rect">
            <a:avLst/>
          </a:prstGeom>
        </p:spPr>
      </p:pic>
    </p:spTree>
    <p:extLst>
      <p:ext uri="{BB962C8B-B14F-4D97-AF65-F5344CB8AC3E}">
        <p14:creationId xmlns:p14="http://schemas.microsoft.com/office/powerpoint/2010/main" val="376117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pic>
        <p:nvPicPr>
          <p:cNvPr id="6" name="Picture 5" descr="A picture containing wooden, indoor, building, floor&#10;&#10;Description automatically generated">
            <a:extLst>
              <a:ext uri="{FF2B5EF4-FFF2-40B4-BE49-F238E27FC236}">
                <a16:creationId xmlns:a16="http://schemas.microsoft.com/office/drawing/2014/main" id="{4A418403-2405-7347-BB97-FAA81A1F29F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575572" cy="5143500"/>
          </a:xfrm>
          <a:prstGeom prst="rect">
            <a:avLst/>
          </a:prstGeom>
        </p:spPr>
      </p:pic>
      <p:sp>
        <p:nvSpPr>
          <p:cNvPr id="7" name="Rectangle 6"/>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9"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154186" y="4818904"/>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70838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4B05E76-D472-47A0-843A-EC3338B1CC99}" type="datetimeFigureOut">
              <a:rPr lang="en-IN" smtClean="0"/>
              <a:t>10-10-2019</a:t>
            </a:fld>
            <a:endParaRPr lang="en-IN"/>
          </a:p>
        </p:txBody>
      </p:sp>
      <p:sp>
        <p:nvSpPr>
          <p:cNvPr id="5" name="Footer Placeholder 4"/>
          <p:cNvSpPr>
            <a:spLocks noGrp="1"/>
          </p:cNvSpPr>
          <p:nvPr>
            <p:ph type="ftr" sz="quarter" idx="11"/>
          </p:nvPr>
        </p:nvSpPr>
        <p:spPr>
          <a:xfrm>
            <a:off x="3181350" y="4426149"/>
            <a:ext cx="3086100" cy="273844"/>
          </a:xfrm>
        </p:spPr>
        <p:txBody>
          <a:bodyPr/>
          <a:lstStyle/>
          <a:p>
            <a:endParaRPr lang="en-IN"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5049716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A4B05E76-D472-47A0-843A-EC3338B1CC99}" type="datetimeFigureOut">
              <a:rPr lang="en-IN" smtClean="0"/>
              <a:t>10-10-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1571344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A4B05E76-D472-47A0-843A-EC3338B1CC99}" type="datetimeFigureOut">
              <a:rPr lang="en-IN" smtClean="0"/>
              <a:t>10-10-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37391741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A4B05E76-D472-47A0-843A-EC3338B1CC99}" type="datetimeFigureOut">
              <a:rPr lang="en-IN" smtClean="0"/>
              <a:t>10-10-2019</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2223507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4B05E76-D472-47A0-843A-EC3338B1CC99}" type="datetimeFigureOut">
              <a:rPr lang="en-IN" smtClean="0"/>
              <a:t>10-10-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1707644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B05E76-D472-47A0-843A-EC3338B1CC99}" type="datetimeFigureOut">
              <a:rPr lang="en-IN" smtClean="0"/>
              <a:t>10-10-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18364372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A4B05E76-D472-47A0-843A-EC3338B1CC99}" type="datetimeFigureOut">
              <a:rPr lang="en-IN" smtClean="0"/>
              <a:t>10-10-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32536457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A4B05E76-D472-47A0-843A-EC3338B1CC99}" type="datetimeFigureOut">
              <a:rPr lang="en-IN" smtClean="0"/>
              <a:t>10-10-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12769730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4B05E76-D472-47A0-843A-EC3338B1CC99}" type="datetimeFigureOut">
              <a:rPr lang="en-IN" smtClean="0"/>
              <a:t>10-10-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9366017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4B05E76-D472-47A0-843A-EC3338B1CC99}" type="datetimeFigureOut">
              <a:rPr lang="en-IN" smtClean="0"/>
              <a:t>10-10-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434757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pic>
        <p:nvPicPr>
          <p:cNvPr id="8" name="Picture 7" descr="A picture containing wall, indoor, ceiling, floor&#10;&#10;Description automatically generated">
            <a:extLst>
              <a:ext uri="{FF2B5EF4-FFF2-40B4-BE49-F238E27FC236}">
                <a16:creationId xmlns:a16="http://schemas.microsoft.com/office/drawing/2014/main" id="{12099AA6-0A08-3E4B-AAC7-693F1447BD2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41" y="0"/>
            <a:ext cx="4571158" cy="5143500"/>
          </a:xfrm>
          <a:prstGeom prst="rect">
            <a:avLst/>
          </a:prstGeom>
        </p:spPr>
      </p:pic>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7"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9"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841" y="4810320"/>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9922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pic>
        <p:nvPicPr>
          <p:cNvPr id="9" name="Picture 8" descr="A view of a city street&#10;&#10;Description automatically generated">
            <a:extLst>
              <a:ext uri="{FF2B5EF4-FFF2-40B4-BE49-F238E27FC236}">
                <a16:creationId xmlns:a16="http://schemas.microsoft.com/office/drawing/2014/main" id="{53727C2E-D405-4E42-BD69-30F8C2E7DE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4570586" cy="5143500"/>
          </a:xfrm>
          <a:prstGeom prst="rect">
            <a:avLst/>
          </a:prstGeom>
        </p:spPr>
      </p:pic>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7"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8"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48726" y="4824256"/>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96617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title page with image lef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EF979D-7E56-7547-B8BB-956A1182E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54380" y="3133532"/>
            <a:ext cx="1848464" cy="639366"/>
          </a:xfrm>
          <a:prstGeom prst="rect">
            <a:avLst/>
          </a:prstGeom>
        </p:spPr>
      </p:pic>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sp>
        <p:nvSpPr>
          <p:cNvPr id="13" name="Text Placeholder 4">
            <a:extLst>
              <a:ext uri="{FF2B5EF4-FFF2-40B4-BE49-F238E27FC236}">
                <a16:creationId xmlns:a16="http://schemas.microsoft.com/office/drawing/2014/main" id="{41394B71-D786-7C49-9C6E-F1B862C690DB}"/>
              </a:ext>
            </a:extLst>
          </p:cNvPr>
          <p:cNvSpPr>
            <a:spLocks noGrp="1"/>
          </p:cNvSpPr>
          <p:nvPr>
            <p:ph type="body" sz="quarter" idx="13" hasCustomPrompt="1"/>
          </p:nvPr>
        </p:nvSpPr>
        <p:spPr>
          <a:xfrm>
            <a:off x="4571999" y="2081189"/>
            <a:ext cx="4213226"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8" name="Picture 7">
            <a:extLst>
              <a:ext uri="{FF2B5EF4-FFF2-40B4-BE49-F238E27FC236}">
                <a16:creationId xmlns:a16="http://schemas.microsoft.com/office/drawing/2014/main" id="{ECBBB0C6-00A9-E74D-AD2E-BCAA6FC6683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16200000">
            <a:off x="-285751" y="285750"/>
            <a:ext cx="5143500" cy="4572000"/>
          </a:xfrm>
          <a:prstGeom prst="rect">
            <a:avLst/>
          </a:prstGeom>
        </p:spPr>
      </p:pic>
    </p:spTree>
    <p:extLst>
      <p:ext uri="{BB962C8B-B14F-4D97-AF65-F5344CB8AC3E}">
        <p14:creationId xmlns:p14="http://schemas.microsoft.com/office/powerpoint/2010/main" val="4123118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title page with image lef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EF979D-7E56-7547-B8BB-956A1182E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54380" y="3133532"/>
            <a:ext cx="1848464" cy="639366"/>
          </a:xfrm>
          <a:prstGeom prst="rect">
            <a:avLst/>
          </a:prstGeom>
        </p:spPr>
      </p:pic>
      <p:sp>
        <p:nvSpPr>
          <p:cNvPr id="3" name="Picture Placeholder 2">
            <a:extLst>
              <a:ext uri="{FF2B5EF4-FFF2-40B4-BE49-F238E27FC236}">
                <a16:creationId xmlns:a16="http://schemas.microsoft.com/office/drawing/2014/main" id="{32FD02B3-E722-FC4B-82CF-14E77373EAE0}"/>
              </a:ext>
            </a:extLst>
          </p:cNvPr>
          <p:cNvSpPr>
            <a:spLocks noGrp="1"/>
          </p:cNvSpPr>
          <p:nvPr>
            <p:ph type="pic" sz="quarter" idx="10"/>
          </p:nvPr>
        </p:nvSpPr>
        <p:spPr>
          <a:xfrm>
            <a:off x="0" y="0"/>
            <a:ext cx="4572000" cy="5143500"/>
          </a:xfrm>
        </p:spPr>
        <p:txBody>
          <a:bodyPr/>
          <a:lstStyle/>
          <a:p>
            <a:endParaRPr lang="en-US"/>
          </a:p>
        </p:txBody>
      </p:sp>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sp>
        <p:nvSpPr>
          <p:cNvPr id="13" name="Text Placeholder 4">
            <a:extLst>
              <a:ext uri="{FF2B5EF4-FFF2-40B4-BE49-F238E27FC236}">
                <a16:creationId xmlns:a16="http://schemas.microsoft.com/office/drawing/2014/main" id="{41394B71-D786-7C49-9C6E-F1B862C690DB}"/>
              </a:ext>
            </a:extLst>
          </p:cNvPr>
          <p:cNvSpPr>
            <a:spLocks noGrp="1"/>
          </p:cNvSpPr>
          <p:nvPr>
            <p:ph type="body" sz="quarter" idx="13" hasCustomPrompt="1"/>
          </p:nvPr>
        </p:nvSpPr>
        <p:spPr>
          <a:xfrm>
            <a:off x="4571999" y="2081189"/>
            <a:ext cx="4213226"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spTree>
    <p:extLst>
      <p:ext uri="{BB962C8B-B14F-4D97-AF65-F5344CB8AC3E}">
        <p14:creationId xmlns:p14="http://schemas.microsoft.com/office/powerpoint/2010/main" val="2905038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50000"/>
            <a:ext cx="4213226" cy="531455"/>
          </a:xfrm>
        </p:spPr>
        <p:txBody>
          <a:bodyPr anchor="t"/>
          <a:lstStyle>
            <a:lvl1pPr algn="ctr">
              <a:defRPr sz="1650">
                <a:solidFill>
                  <a:srgbClr val="E64626"/>
                </a:solidFill>
              </a:defRPr>
            </a:lvl1pPr>
          </a:lstStyle>
          <a:p>
            <a:r>
              <a:rPr lang="en-US" dirty="0"/>
              <a:t>Title heading here</a:t>
            </a:r>
          </a:p>
        </p:txBody>
      </p:sp>
      <p:pic>
        <p:nvPicPr>
          <p:cNvPr id="9" name="Picture 8">
            <a:extLst>
              <a:ext uri="{FF2B5EF4-FFF2-40B4-BE49-F238E27FC236}">
                <a16:creationId xmlns:a16="http://schemas.microsoft.com/office/drawing/2014/main" id="{ED736CF8-0BFE-3942-AFED-8E09806047B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24" y="0"/>
            <a:ext cx="4572001" cy="5143500"/>
          </a:xfrm>
          <a:prstGeom prst="rect">
            <a:avLst/>
          </a:prstGeom>
        </p:spPr>
      </p:pic>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7"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8"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29017" y="4818904"/>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1195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50000"/>
            <a:ext cx="4213226" cy="531455"/>
          </a:xfrm>
        </p:spPr>
        <p:txBody>
          <a:bodyPr anchor="t"/>
          <a:lstStyle>
            <a:lvl1pPr algn="ctr">
              <a:defRPr sz="1650">
                <a:solidFill>
                  <a:srgbClr val="E64626"/>
                </a:solidFill>
              </a:defRPr>
            </a:lvl1pPr>
          </a:lstStyle>
          <a:p>
            <a:r>
              <a:rPr lang="en-US" dirty="0"/>
              <a:t>Title heading here</a:t>
            </a:r>
          </a:p>
        </p:txBody>
      </p:sp>
      <p:pic>
        <p:nvPicPr>
          <p:cNvPr id="7" name="Picture 6">
            <a:extLst>
              <a:ext uri="{FF2B5EF4-FFF2-40B4-BE49-F238E27FC236}">
                <a16:creationId xmlns:a16="http://schemas.microsoft.com/office/drawing/2014/main" id="{2FB54032-E3BF-9A4E-9697-7C29E77FBAB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66" y="0"/>
            <a:ext cx="4567711" cy="5143500"/>
          </a:xfrm>
          <a:prstGeom prst="rect">
            <a:avLst/>
          </a:prstGeom>
        </p:spPr>
      </p:pic>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9"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1466" y="4818904"/>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0963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title page with image left">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50000"/>
            <a:ext cx="4213226" cy="531455"/>
          </a:xfrm>
        </p:spPr>
        <p:txBody>
          <a:bodyPr anchor="t"/>
          <a:lstStyle>
            <a:lvl1pPr algn="ctr">
              <a:defRPr sz="1650">
                <a:solidFill>
                  <a:srgbClr val="E64626"/>
                </a:solidFill>
              </a:defRPr>
            </a:lvl1pPr>
          </a:lstStyle>
          <a:p>
            <a:r>
              <a:rPr lang="en-US" dirty="0"/>
              <a:t>Title heading here</a:t>
            </a:r>
          </a:p>
        </p:txBody>
      </p:sp>
      <p:pic>
        <p:nvPicPr>
          <p:cNvPr id="8" name="Picture 7" descr="A view of a city&#10;&#10;Description automatically generated">
            <a:extLst>
              <a:ext uri="{FF2B5EF4-FFF2-40B4-BE49-F238E27FC236}">
                <a16:creationId xmlns:a16="http://schemas.microsoft.com/office/drawing/2014/main" id="{EEA48C17-65B0-7542-96C2-BA37205D5E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644732" cy="5143500"/>
          </a:xfrm>
          <a:prstGeom prst="rect">
            <a:avLst/>
          </a:prstGeom>
        </p:spPr>
      </p:pic>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7"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9"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14" name="Date Placeholder 3"/>
          <p:cNvSpPr txBox="1">
            <a:spLocks/>
          </p:cNvSpPr>
          <p:nvPr userDrawn="1"/>
        </p:nvSpPr>
        <p:spPr>
          <a:xfrm>
            <a:off x="-26193" y="4835247"/>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41532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Ttitle page with image lef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EF979D-7E56-7547-B8BB-956A1182E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54380" y="3133532"/>
            <a:ext cx="1854200" cy="481013"/>
          </a:xfrm>
          <a:prstGeom prst="rect">
            <a:avLst/>
          </a:prstGeom>
        </p:spPr>
      </p:pic>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50000"/>
            <a:ext cx="4213226" cy="531455"/>
          </a:xfrm>
        </p:spPr>
        <p:txBody>
          <a:bodyPr anchor="t"/>
          <a:lstStyle>
            <a:lvl1pPr algn="ctr">
              <a:defRPr sz="1650">
                <a:solidFill>
                  <a:srgbClr val="E64626"/>
                </a:solidFill>
              </a:defRPr>
            </a:lvl1pPr>
          </a:lstStyle>
          <a:p>
            <a:r>
              <a:rPr lang="en-US" dirty="0"/>
              <a:t>Title heading here</a:t>
            </a:r>
          </a:p>
        </p:txBody>
      </p:sp>
      <p:sp>
        <p:nvSpPr>
          <p:cNvPr id="13" name="Text Placeholder 4">
            <a:extLst>
              <a:ext uri="{FF2B5EF4-FFF2-40B4-BE49-F238E27FC236}">
                <a16:creationId xmlns:a16="http://schemas.microsoft.com/office/drawing/2014/main" id="{41394B71-D786-7C49-9C6E-F1B862C690DB}"/>
              </a:ext>
            </a:extLst>
          </p:cNvPr>
          <p:cNvSpPr>
            <a:spLocks noGrp="1"/>
          </p:cNvSpPr>
          <p:nvPr>
            <p:ph type="body" sz="quarter" idx="13" hasCustomPrompt="1"/>
          </p:nvPr>
        </p:nvSpPr>
        <p:spPr>
          <a:xfrm>
            <a:off x="4571999" y="2081190"/>
            <a:ext cx="4213226" cy="531455"/>
          </a:xfrm>
        </p:spPr>
        <p:txBody>
          <a:bodyPr/>
          <a:lstStyle>
            <a:lvl1pPr marL="0" indent="0" algn="ctr">
              <a:lnSpc>
                <a:spcPct val="90000"/>
              </a:lnSpc>
              <a:buNone/>
              <a:defRPr sz="1125">
                <a:solidFill>
                  <a:srgbClr val="000000"/>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a:t>
            </a:r>
          </a:p>
        </p:txBody>
      </p:sp>
      <p:pic>
        <p:nvPicPr>
          <p:cNvPr id="6" name="Picture 5" descr="A picture containing indoor, cabinet, wall&#10;&#10;Description automatically generated">
            <a:extLst>
              <a:ext uri="{FF2B5EF4-FFF2-40B4-BE49-F238E27FC236}">
                <a16:creationId xmlns:a16="http://schemas.microsoft.com/office/drawing/2014/main" id="{E2855B5D-5C4C-6845-B0D1-EFFBC0164C9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9905" y="0"/>
            <a:ext cx="4751841" cy="5143500"/>
          </a:xfrm>
          <a:prstGeom prst="rect">
            <a:avLst/>
          </a:prstGeom>
        </p:spPr>
      </p:pic>
    </p:spTree>
    <p:extLst>
      <p:ext uri="{BB962C8B-B14F-4D97-AF65-F5344CB8AC3E}">
        <p14:creationId xmlns:p14="http://schemas.microsoft.com/office/powerpoint/2010/main" val="16157155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Ttitle page with image lef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EF979D-7E56-7547-B8BB-956A1182E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54380" y="3133532"/>
            <a:ext cx="1854200" cy="481013"/>
          </a:xfrm>
          <a:prstGeom prst="rect">
            <a:avLst/>
          </a:prstGeom>
        </p:spPr>
      </p:pic>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50000"/>
            <a:ext cx="4213226" cy="531455"/>
          </a:xfrm>
        </p:spPr>
        <p:txBody>
          <a:bodyPr anchor="t"/>
          <a:lstStyle>
            <a:lvl1pPr algn="ctr">
              <a:defRPr sz="1650">
                <a:solidFill>
                  <a:srgbClr val="E64626"/>
                </a:solidFill>
              </a:defRPr>
            </a:lvl1pPr>
          </a:lstStyle>
          <a:p>
            <a:r>
              <a:rPr lang="en-US" dirty="0"/>
              <a:t>Title heading here</a:t>
            </a:r>
          </a:p>
        </p:txBody>
      </p:sp>
      <p:sp>
        <p:nvSpPr>
          <p:cNvPr id="13" name="Text Placeholder 4">
            <a:extLst>
              <a:ext uri="{FF2B5EF4-FFF2-40B4-BE49-F238E27FC236}">
                <a16:creationId xmlns:a16="http://schemas.microsoft.com/office/drawing/2014/main" id="{41394B71-D786-7C49-9C6E-F1B862C690DB}"/>
              </a:ext>
            </a:extLst>
          </p:cNvPr>
          <p:cNvSpPr>
            <a:spLocks noGrp="1"/>
          </p:cNvSpPr>
          <p:nvPr>
            <p:ph type="body" sz="quarter" idx="13" hasCustomPrompt="1"/>
          </p:nvPr>
        </p:nvSpPr>
        <p:spPr>
          <a:xfrm>
            <a:off x="4571999" y="2081190"/>
            <a:ext cx="4213226" cy="531455"/>
          </a:xfrm>
        </p:spPr>
        <p:txBody>
          <a:bodyPr/>
          <a:lstStyle>
            <a:lvl1pPr marL="0" indent="0" algn="ctr">
              <a:lnSpc>
                <a:spcPct val="90000"/>
              </a:lnSpc>
              <a:buNone/>
              <a:defRPr sz="1125">
                <a:solidFill>
                  <a:srgbClr val="000000"/>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a:t>
            </a:r>
          </a:p>
        </p:txBody>
      </p:sp>
      <p:pic>
        <p:nvPicPr>
          <p:cNvPr id="7" name="Picture 6" descr="A sign on the side of a building&#10;&#10;Description automatically generated">
            <a:extLst>
              <a:ext uri="{FF2B5EF4-FFF2-40B4-BE49-F238E27FC236}">
                <a16:creationId xmlns:a16="http://schemas.microsoft.com/office/drawing/2014/main" id="{8387637C-C895-044D-9069-54AE6A1C5C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3362" y="0"/>
            <a:ext cx="4743925" cy="5143500"/>
          </a:xfrm>
          <a:prstGeom prst="rect">
            <a:avLst/>
          </a:prstGeom>
        </p:spPr>
      </p:pic>
    </p:spTree>
    <p:extLst>
      <p:ext uri="{BB962C8B-B14F-4D97-AF65-F5344CB8AC3E}">
        <p14:creationId xmlns:p14="http://schemas.microsoft.com/office/powerpoint/2010/main" val="1929194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tile page ochre - centre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031483D-DA28-2442-A81B-F28DE6B1B7D8}"/>
              </a:ext>
            </a:extLst>
          </p:cNvPr>
          <p:cNvSpPr/>
          <p:nvPr userDrawn="1"/>
        </p:nvSpPr>
        <p:spPr>
          <a:xfrm>
            <a:off x="0" y="0"/>
            <a:ext cx="9143999"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Title 8"/>
          <p:cNvSpPr>
            <a:spLocks noGrp="1"/>
          </p:cNvSpPr>
          <p:nvPr>
            <p:ph type="title" hasCustomPrompt="1"/>
          </p:nvPr>
        </p:nvSpPr>
        <p:spPr>
          <a:xfrm>
            <a:off x="381884" y="1155032"/>
            <a:ext cx="8407184" cy="531455"/>
          </a:xfrm>
        </p:spPr>
        <p:txBody>
          <a:bodyPr anchor="t"/>
          <a:lstStyle>
            <a:lvl1pPr algn="ctr">
              <a:defRPr sz="2200">
                <a:solidFill>
                  <a:schemeClr val="bg1"/>
                </a:solidFill>
              </a:defRPr>
            </a:lvl1pPr>
          </a:lstStyle>
          <a:p>
            <a:r>
              <a:rPr lang="en-US" dirty="0"/>
              <a:t>Title heading here</a:t>
            </a:r>
          </a:p>
        </p:txBody>
      </p:sp>
      <p:sp>
        <p:nvSpPr>
          <p:cNvPr id="16" name="Text Placeholder 4"/>
          <p:cNvSpPr>
            <a:spLocks noGrp="1"/>
          </p:cNvSpPr>
          <p:nvPr>
            <p:ph type="body" sz="quarter" idx="13" hasCustomPrompt="1"/>
          </p:nvPr>
        </p:nvSpPr>
        <p:spPr>
          <a:xfrm>
            <a:off x="382766" y="1794397"/>
            <a:ext cx="8406302"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7" name="Picture 6">
            <a:extLst>
              <a:ext uri="{FF2B5EF4-FFF2-40B4-BE49-F238E27FC236}">
                <a16:creationId xmlns:a16="http://schemas.microsoft.com/office/drawing/2014/main" id="{E1912338-13F8-E743-AA0B-94731D586C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59322" y="3881927"/>
            <a:ext cx="1848464" cy="639366"/>
          </a:xfrm>
          <a:prstGeom prst="rect">
            <a:avLst/>
          </a:prstGeom>
        </p:spPr>
      </p:pic>
    </p:spTree>
    <p:extLst>
      <p:ext uri="{BB962C8B-B14F-4D97-AF65-F5344CB8AC3E}">
        <p14:creationId xmlns:p14="http://schemas.microsoft.com/office/powerpoint/2010/main" val="19376577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hapter slid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3999" cy="5143500"/>
          </a:xfrm>
        </p:spPr>
        <p:txBody>
          <a:bodyPr rtlCol="0" anchor="ctr" anchorCtr="1">
            <a:normAutofit/>
          </a:bodyPr>
          <a:lstStyle>
            <a:lvl1pPr marL="0" indent="0" algn="ctr">
              <a:buNone/>
              <a:defRPr baseline="0"/>
            </a:lvl1pPr>
          </a:lstStyle>
          <a:p>
            <a:pPr lvl="0"/>
            <a:r>
              <a:rPr lang="en-US" noProof="0" dirty="0"/>
              <a:t>Click icon to add picture</a:t>
            </a:r>
          </a:p>
        </p:txBody>
      </p:sp>
      <p:sp>
        <p:nvSpPr>
          <p:cNvPr id="2" name="Title 1"/>
          <p:cNvSpPr>
            <a:spLocks noGrp="1"/>
          </p:cNvSpPr>
          <p:nvPr>
            <p:ph type="title"/>
          </p:nvPr>
        </p:nvSpPr>
        <p:spPr>
          <a:xfrm>
            <a:off x="358775" y="1940222"/>
            <a:ext cx="8426450" cy="485387"/>
          </a:xfrm>
        </p:spPr>
        <p:txBody>
          <a:bodyPr/>
          <a:lstStyle>
            <a:lvl1pPr algn="ctr">
              <a:defRPr>
                <a:solidFill>
                  <a:srgbClr val="E64626"/>
                </a:solidFill>
              </a:defRPr>
            </a:lvl1pPr>
          </a:lstStyle>
          <a:p>
            <a:r>
              <a:rPr lang="en-US" dirty="0"/>
              <a:t>Click to edit Master title style</a:t>
            </a:r>
          </a:p>
        </p:txBody>
      </p:sp>
    </p:spTree>
    <p:extLst>
      <p:ext uri="{BB962C8B-B14F-4D97-AF65-F5344CB8AC3E}">
        <p14:creationId xmlns:p14="http://schemas.microsoft.com/office/powerpoint/2010/main" val="5275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chapter slide and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F5CE6B-9FE6-2E4F-9291-AF50934F15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3999" cy="5143500"/>
          </a:xfrm>
          <a:prstGeom prst="rect">
            <a:avLst/>
          </a:prstGeom>
        </p:spPr>
      </p:pic>
      <p:sp>
        <p:nvSpPr>
          <p:cNvPr id="2" name="Title 1"/>
          <p:cNvSpPr>
            <a:spLocks noGrp="1"/>
          </p:cNvSpPr>
          <p:nvPr>
            <p:ph type="title"/>
          </p:nvPr>
        </p:nvSpPr>
        <p:spPr>
          <a:xfrm>
            <a:off x="358775" y="1940222"/>
            <a:ext cx="8426450" cy="485387"/>
          </a:xfrm>
        </p:spPr>
        <p:txBody>
          <a:bodyPr/>
          <a:lstStyle>
            <a:lvl1pPr algn="ctr">
              <a:defRPr>
                <a:solidFill>
                  <a:srgbClr val="E64626"/>
                </a:solidFill>
              </a:defRPr>
            </a:lvl1pPr>
          </a:lstStyle>
          <a:p>
            <a:r>
              <a:rPr lang="en-US" dirty="0"/>
              <a:t>Click to edit Master title style</a:t>
            </a:r>
          </a:p>
        </p:txBody>
      </p:sp>
    </p:spTree>
    <p:extLst>
      <p:ext uri="{BB962C8B-B14F-4D97-AF65-F5344CB8AC3E}">
        <p14:creationId xmlns:p14="http://schemas.microsoft.com/office/powerpoint/2010/main" val="19958868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eak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469141-C134-5D42-A06F-DA89145EDF43}"/>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ate Placeholder 3">
            <a:extLst>
              <a:ext uri="{FF2B5EF4-FFF2-40B4-BE49-F238E27FC236}">
                <a16:creationId xmlns:a16="http://schemas.microsoft.com/office/drawing/2014/main" id="{9AE58B7D-184B-584A-BF97-3560578F50E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University of Sydney</a:t>
            </a:r>
          </a:p>
        </p:txBody>
      </p:sp>
      <p:sp>
        <p:nvSpPr>
          <p:cNvPr id="9" name="Slide Number Placeholder 5">
            <a:extLst>
              <a:ext uri="{FF2B5EF4-FFF2-40B4-BE49-F238E27FC236}">
                <a16:creationId xmlns:a16="http://schemas.microsoft.com/office/drawing/2014/main" id="{817C0F2C-0369-A948-8D15-BB7548B8A4EE}"/>
              </a:ext>
            </a:extLst>
          </p:cNvPr>
          <p:cNvSpPr txBox="1">
            <a:spLocks/>
          </p:cNvSpPr>
          <p:nvPr userDrawn="1"/>
        </p:nvSpPr>
        <p:spPr>
          <a:xfrm>
            <a:off x="6629400" y="4767263"/>
            <a:ext cx="2133600" cy="274637"/>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solidFill>
                  <a:schemeClr val="bg1"/>
                </a:solidFill>
                <a:latin typeface="Arial" panose="020B0604020202020204" pitchFamily="34" charset="0"/>
                <a:cs typeface="Arial" panose="020B0604020202020204" pitchFamily="34" charset="0"/>
              </a:rPr>
              <a:t>Page </a:t>
            </a:r>
            <a:fld id="{17B45C2B-5911-204A-99D5-05E77B133151}" type="slidenum">
              <a:rPr lang="en-US" smtClean="0">
                <a:solidFill>
                  <a:schemeClr val="bg1"/>
                </a:solidFill>
                <a:latin typeface="Arial" panose="020B0604020202020204" pitchFamily="34" charset="0"/>
                <a:cs typeface="Arial" panose="020B0604020202020204" pitchFamily="34" charset="0"/>
              </a:rPr>
              <a:pPr fontAlgn="auto">
                <a:spcBef>
                  <a:spcPts val="0"/>
                </a:spcBef>
                <a:spcAft>
                  <a:spcPts val="0"/>
                </a:spcAft>
                <a:defRPr/>
              </a:pPr>
              <a:t>‹#›</a:t>
            </a:fld>
            <a:endParaRPr lang="en-US" dirty="0">
              <a:solidFill>
                <a:schemeClr val="bg1"/>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35F79E3-91A0-9F4E-AB82-97A90F71A1CB}"/>
              </a:ext>
            </a:extLst>
          </p:cNvPr>
          <p:cNvSpPr>
            <a:spLocks noGrp="1"/>
          </p:cNvSpPr>
          <p:nvPr>
            <p:ph type="body" sz="quarter" idx="10" hasCustomPrompt="1"/>
          </p:nvPr>
        </p:nvSpPr>
        <p:spPr>
          <a:xfrm>
            <a:off x="358774" y="558484"/>
            <a:ext cx="8426451" cy="436394"/>
          </a:xfrm>
        </p:spPr>
        <p:txBody>
          <a:bodyPr/>
          <a:lstStyle>
            <a:lvl1pPr marL="0" indent="0" algn="ctr">
              <a:buNone/>
              <a:defRPr sz="1500">
                <a:solidFill>
                  <a:schemeClr val="bg1"/>
                </a:solidFill>
              </a:defRPr>
            </a:lvl1pPr>
            <a:lvl2pPr algn="ctr">
              <a:defRPr>
                <a:solidFill>
                  <a:schemeClr val="bg1"/>
                </a:solidFill>
              </a:defRPr>
            </a:lvl2pPr>
          </a:lstStyle>
          <a:p>
            <a:pPr lvl="0"/>
            <a:r>
              <a:rPr lang="en-US" dirty="0"/>
              <a:t>Insert heading</a:t>
            </a:r>
          </a:p>
        </p:txBody>
      </p:sp>
      <p:sp>
        <p:nvSpPr>
          <p:cNvPr id="6" name="Picture Placeholder 5">
            <a:extLst>
              <a:ext uri="{FF2B5EF4-FFF2-40B4-BE49-F238E27FC236}">
                <a16:creationId xmlns:a16="http://schemas.microsoft.com/office/drawing/2014/main" id="{28EE421A-DE97-FF4F-905F-DD673E8C1FB8}"/>
              </a:ext>
            </a:extLst>
          </p:cNvPr>
          <p:cNvSpPr>
            <a:spLocks noGrp="1"/>
          </p:cNvSpPr>
          <p:nvPr>
            <p:ph type="pic" sz="quarter" idx="11"/>
          </p:nvPr>
        </p:nvSpPr>
        <p:spPr>
          <a:xfrm>
            <a:off x="3324164" y="1161929"/>
            <a:ext cx="2495671" cy="2495671"/>
          </a:xfrm>
        </p:spPr>
        <p:txBody>
          <a:bodyPr/>
          <a:lstStyle/>
          <a:p>
            <a:endParaRPr lang="en-US" dirty="0"/>
          </a:p>
        </p:txBody>
      </p:sp>
      <p:sp>
        <p:nvSpPr>
          <p:cNvPr id="10" name="Text Placeholder 3">
            <a:extLst>
              <a:ext uri="{FF2B5EF4-FFF2-40B4-BE49-F238E27FC236}">
                <a16:creationId xmlns:a16="http://schemas.microsoft.com/office/drawing/2014/main" id="{0B90342E-CD7E-6D41-8264-9DB0EE0A15EB}"/>
              </a:ext>
            </a:extLst>
          </p:cNvPr>
          <p:cNvSpPr>
            <a:spLocks noGrp="1"/>
          </p:cNvSpPr>
          <p:nvPr>
            <p:ph type="body" sz="quarter" idx="12" hasCustomPrompt="1"/>
          </p:nvPr>
        </p:nvSpPr>
        <p:spPr>
          <a:xfrm>
            <a:off x="358774" y="3781125"/>
            <a:ext cx="842645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 institute</a:t>
            </a:r>
          </a:p>
        </p:txBody>
      </p:sp>
    </p:spTree>
    <p:extLst>
      <p:ext uri="{BB962C8B-B14F-4D97-AF65-F5344CB8AC3E}">
        <p14:creationId xmlns:p14="http://schemas.microsoft.com/office/powerpoint/2010/main" val="21069887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eaker with b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469141-C134-5D42-A06F-DA89145EDF43}"/>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Date Placeholder 3">
            <a:extLst>
              <a:ext uri="{FF2B5EF4-FFF2-40B4-BE49-F238E27FC236}">
                <a16:creationId xmlns:a16="http://schemas.microsoft.com/office/drawing/2014/main" id="{9AE58B7D-184B-584A-BF97-3560578F50E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University of Sydney</a:t>
            </a:r>
          </a:p>
        </p:txBody>
      </p:sp>
      <p:sp>
        <p:nvSpPr>
          <p:cNvPr id="9" name="Slide Number Placeholder 5">
            <a:extLst>
              <a:ext uri="{FF2B5EF4-FFF2-40B4-BE49-F238E27FC236}">
                <a16:creationId xmlns:a16="http://schemas.microsoft.com/office/drawing/2014/main" id="{817C0F2C-0369-A948-8D15-BB7548B8A4EE}"/>
              </a:ext>
            </a:extLst>
          </p:cNvPr>
          <p:cNvSpPr txBox="1">
            <a:spLocks/>
          </p:cNvSpPr>
          <p:nvPr userDrawn="1"/>
        </p:nvSpPr>
        <p:spPr>
          <a:xfrm>
            <a:off x="6629400" y="4767263"/>
            <a:ext cx="2133600" cy="274637"/>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solidFill>
                  <a:schemeClr val="bg1"/>
                </a:solidFill>
                <a:latin typeface="Arial" panose="020B0604020202020204" pitchFamily="34" charset="0"/>
                <a:cs typeface="Arial" panose="020B0604020202020204" pitchFamily="34" charset="0"/>
              </a:rPr>
              <a:t>Page </a:t>
            </a:r>
            <a:fld id="{17B45C2B-5911-204A-99D5-05E77B133151}" type="slidenum">
              <a:rPr lang="en-US" smtClean="0">
                <a:solidFill>
                  <a:schemeClr val="bg1"/>
                </a:solidFill>
                <a:latin typeface="Arial" panose="020B0604020202020204" pitchFamily="34" charset="0"/>
                <a:cs typeface="Arial" panose="020B0604020202020204" pitchFamily="34" charset="0"/>
              </a:rPr>
              <a:pPr fontAlgn="auto">
                <a:spcBef>
                  <a:spcPts val="0"/>
                </a:spcBef>
                <a:spcAft>
                  <a:spcPts val="0"/>
                </a:spcAft>
                <a:defRPr/>
              </a:pPr>
              <a:t>‹#›</a:t>
            </a:fld>
            <a:endParaRPr lang="en-US" dirty="0">
              <a:solidFill>
                <a:schemeClr val="bg1"/>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35F79E3-91A0-9F4E-AB82-97A90F71A1CB}"/>
              </a:ext>
            </a:extLst>
          </p:cNvPr>
          <p:cNvSpPr>
            <a:spLocks noGrp="1"/>
          </p:cNvSpPr>
          <p:nvPr>
            <p:ph type="body" sz="quarter" idx="10" hasCustomPrompt="1"/>
          </p:nvPr>
        </p:nvSpPr>
        <p:spPr>
          <a:xfrm>
            <a:off x="381000" y="558484"/>
            <a:ext cx="2495671" cy="436394"/>
          </a:xfrm>
        </p:spPr>
        <p:txBody>
          <a:bodyPr/>
          <a:lstStyle>
            <a:lvl1pPr marL="0" indent="0" algn="ctr">
              <a:buNone/>
              <a:defRPr sz="1500">
                <a:solidFill>
                  <a:schemeClr val="bg1"/>
                </a:solidFill>
              </a:defRPr>
            </a:lvl1pPr>
            <a:lvl2pPr algn="ctr">
              <a:defRPr>
                <a:solidFill>
                  <a:schemeClr val="bg1"/>
                </a:solidFill>
              </a:defRPr>
            </a:lvl2pPr>
          </a:lstStyle>
          <a:p>
            <a:pPr lvl="0"/>
            <a:r>
              <a:rPr lang="en-US" dirty="0"/>
              <a:t>Insert heading</a:t>
            </a:r>
          </a:p>
        </p:txBody>
      </p:sp>
      <p:sp>
        <p:nvSpPr>
          <p:cNvPr id="6" name="Picture Placeholder 5">
            <a:extLst>
              <a:ext uri="{FF2B5EF4-FFF2-40B4-BE49-F238E27FC236}">
                <a16:creationId xmlns:a16="http://schemas.microsoft.com/office/drawing/2014/main" id="{28EE421A-DE97-FF4F-905F-DD673E8C1FB8}"/>
              </a:ext>
            </a:extLst>
          </p:cNvPr>
          <p:cNvSpPr>
            <a:spLocks noGrp="1"/>
          </p:cNvSpPr>
          <p:nvPr>
            <p:ph type="pic" sz="quarter" idx="11"/>
          </p:nvPr>
        </p:nvSpPr>
        <p:spPr>
          <a:xfrm>
            <a:off x="381000" y="1161929"/>
            <a:ext cx="2495671" cy="2495671"/>
          </a:xfrm>
        </p:spPr>
        <p:txBody>
          <a:bodyPr/>
          <a:lstStyle/>
          <a:p>
            <a:endParaRPr lang="en-US" dirty="0"/>
          </a:p>
        </p:txBody>
      </p:sp>
      <p:sp>
        <p:nvSpPr>
          <p:cNvPr id="10" name="Text Placeholder 3">
            <a:extLst>
              <a:ext uri="{FF2B5EF4-FFF2-40B4-BE49-F238E27FC236}">
                <a16:creationId xmlns:a16="http://schemas.microsoft.com/office/drawing/2014/main" id="{0B90342E-CD7E-6D41-8264-9DB0EE0A15EB}"/>
              </a:ext>
            </a:extLst>
          </p:cNvPr>
          <p:cNvSpPr>
            <a:spLocks noGrp="1"/>
          </p:cNvSpPr>
          <p:nvPr>
            <p:ph type="body" sz="quarter" idx="12" hasCustomPrompt="1"/>
          </p:nvPr>
        </p:nvSpPr>
        <p:spPr>
          <a:xfrm>
            <a:off x="381000"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 institute</a:t>
            </a:r>
          </a:p>
        </p:txBody>
      </p:sp>
      <p:sp>
        <p:nvSpPr>
          <p:cNvPr id="11" name="Text Placeholder 4">
            <a:extLst>
              <a:ext uri="{FF2B5EF4-FFF2-40B4-BE49-F238E27FC236}">
                <a16:creationId xmlns:a16="http://schemas.microsoft.com/office/drawing/2014/main" id="{2EF31059-F145-1944-861E-253BC304BE86}"/>
              </a:ext>
            </a:extLst>
          </p:cNvPr>
          <p:cNvSpPr>
            <a:spLocks noGrp="1"/>
          </p:cNvSpPr>
          <p:nvPr>
            <p:ph type="body" sz="quarter" idx="13" hasCustomPrompt="1"/>
          </p:nvPr>
        </p:nvSpPr>
        <p:spPr>
          <a:xfrm>
            <a:off x="3483980" y="1161929"/>
            <a:ext cx="5237544" cy="2495671"/>
          </a:xfrm>
        </p:spPr>
        <p:txBody>
          <a:bodyPr/>
          <a:lstStyle>
            <a:lvl1pPr marL="0" indent="0" algn="l">
              <a:lnSpc>
                <a:spcPct val="90000"/>
              </a:lnSpc>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Bio</a:t>
            </a:r>
          </a:p>
        </p:txBody>
      </p:sp>
    </p:spTree>
    <p:extLst>
      <p:ext uri="{BB962C8B-B14F-4D97-AF65-F5344CB8AC3E}">
        <p14:creationId xmlns:p14="http://schemas.microsoft.com/office/powerpoint/2010/main" val="1032463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s x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469141-C134-5D42-A06F-DA89145EDF43}"/>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ate Placeholder 3">
            <a:extLst>
              <a:ext uri="{FF2B5EF4-FFF2-40B4-BE49-F238E27FC236}">
                <a16:creationId xmlns:a16="http://schemas.microsoft.com/office/drawing/2014/main" id="{9AE58B7D-184B-584A-BF97-3560578F50E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University of Sydney</a:t>
            </a:r>
          </a:p>
        </p:txBody>
      </p:sp>
      <p:sp>
        <p:nvSpPr>
          <p:cNvPr id="9" name="Slide Number Placeholder 5">
            <a:extLst>
              <a:ext uri="{FF2B5EF4-FFF2-40B4-BE49-F238E27FC236}">
                <a16:creationId xmlns:a16="http://schemas.microsoft.com/office/drawing/2014/main" id="{817C0F2C-0369-A948-8D15-BB7548B8A4EE}"/>
              </a:ext>
            </a:extLst>
          </p:cNvPr>
          <p:cNvSpPr txBox="1">
            <a:spLocks/>
          </p:cNvSpPr>
          <p:nvPr userDrawn="1"/>
        </p:nvSpPr>
        <p:spPr>
          <a:xfrm>
            <a:off x="6629400" y="4767263"/>
            <a:ext cx="2133600" cy="274637"/>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solidFill>
                  <a:schemeClr val="bg1"/>
                </a:solidFill>
                <a:latin typeface="Arial" panose="020B0604020202020204" pitchFamily="34" charset="0"/>
                <a:cs typeface="Arial" panose="020B0604020202020204" pitchFamily="34" charset="0"/>
              </a:rPr>
              <a:t>Page </a:t>
            </a:r>
            <a:fld id="{17B45C2B-5911-204A-99D5-05E77B133151}" type="slidenum">
              <a:rPr lang="en-US" smtClean="0">
                <a:solidFill>
                  <a:schemeClr val="bg1"/>
                </a:solidFill>
                <a:latin typeface="Arial" panose="020B0604020202020204" pitchFamily="34" charset="0"/>
                <a:cs typeface="Arial" panose="020B0604020202020204" pitchFamily="34" charset="0"/>
              </a:rPr>
              <a:pPr fontAlgn="auto">
                <a:spcBef>
                  <a:spcPts val="0"/>
                </a:spcBef>
                <a:spcAft>
                  <a:spcPts val="0"/>
                </a:spcAft>
                <a:defRPr/>
              </a:pPr>
              <a:t>‹#›</a:t>
            </a:fld>
            <a:endParaRPr lang="en-US" dirty="0">
              <a:solidFill>
                <a:schemeClr val="bg1"/>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35F79E3-91A0-9F4E-AB82-97A90F71A1CB}"/>
              </a:ext>
            </a:extLst>
          </p:cNvPr>
          <p:cNvSpPr>
            <a:spLocks noGrp="1"/>
          </p:cNvSpPr>
          <p:nvPr>
            <p:ph type="body" sz="quarter" idx="10" hasCustomPrompt="1"/>
          </p:nvPr>
        </p:nvSpPr>
        <p:spPr>
          <a:xfrm>
            <a:off x="0" y="558484"/>
            <a:ext cx="9144000" cy="436394"/>
          </a:xfrm>
        </p:spPr>
        <p:txBody>
          <a:bodyPr/>
          <a:lstStyle>
            <a:lvl1pPr marL="0" indent="0" algn="ctr">
              <a:buNone/>
              <a:defRPr sz="1500">
                <a:solidFill>
                  <a:schemeClr val="bg1"/>
                </a:solidFill>
              </a:defRPr>
            </a:lvl1pPr>
            <a:lvl2pPr algn="ctr">
              <a:defRPr>
                <a:solidFill>
                  <a:schemeClr val="bg1"/>
                </a:solidFill>
              </a:defRPr>
            </a:lvl2pPr>
          </a:lstStyle>
          <a:p>
            <a:pPr lvl="0"/>
            <a:r>
              <a:rPr lang="en-US" dirty="0"/>
              <a:t>Insert heading</a:t>
            </a:r>
          </a:p>
        </p:txBody>
      </p:sp>
      <p:sp>
        <p:nvSpPr>
          <p:cNvPr id="6" name="Picture Placeholder 5">
            <a:extLst>
              <a:ext uri="{FF2B5EF4-FFF2-40B4-BE49-F238E27FC236}">
                <a16:creationId xmlns:a16="http://schemas.microsoft.com/office/drawing/2014/main" id="{28EE421A-DE97-FF4F-905F-DD673E8C1FB8}"/>
              </a:ext>
            </a:extLst>
          </p:cNvPr>
          <p:cNvSpPr>
            <a:spLocks noGrp="1"/>
          </p:cNvSpPr>
          <p:nvPr>
            <p:ph type="pic" sz="quarter" idx="11"/>
          </p:nvPr>
        </p:nvSpPr>
        <p:spPr>
          <a:xfrm>
            <a:off x="1708493" y="1161929"/>
            <a:ext cx="2495671" cy="2495671"/>
          </a:xfrm>
        </p:spPr>
        <p:txBody>
          <a:bodyPr/>
          <a:lstStyle/>
          <a:p>
            <a:endParaRPr lang="en-US" dirty="0"/>
          </a:p>
        </p:txBody>
      </p:sp>
      <p:sp>
        <p:nvSpPr>
          <p:cNvPr id="10" name="Text Placeholder 3">
            <a:extLst>
              <a:ext uri="{FF2B5EF4-FFF2-40B4-BE49-F238E27FC236}">
                <a16:creationId xmlns:a16="http://schemas.microsoft.com/office/drawing/2014/main" id="{0B90342E-CD7E-6D41-8264-9DB0EE0A15EB}"/>
              </a:ext>
            </a:extLst>
          </p:cNvPr>
          <p:cNvSpPr>
            <a:spLocks noGrp="1"/>
          </p:cNvSpPr>
          <p:nvPr>
            <p:ph type="body" sz="quarter" idx="12" hasCustomPrompt="1"/>
          </p:nvPr>
        </p:nvSpPr>
        <p:spPr>
          <a:xfrm>
            <a:off x="1708493"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
        <p:nvSpPr>
          <p:cNvPr id="11" name="Picture Placeholder 5">
            <a:extLst>
              <a:ext uri="{FF2B5EF4-FFF2-40B4-BE49-F238E27FC236}">
                <a16:creationId xmlns:a16="http://schemas.microsoft.com/office/drawing/2014/main" id="{FF76A7D6-7A78-6148-A3B4-2609AA4013B6}"/>
              </a:ext>
            </a:extLst>
          </p:cNvPr>
          <p:cNvSpPr>
            <a:spLocks noGrp="1"/>
          </p:cNvSpPr>
          <p:nvPr>
            <p:ph type="pic" sz="quarter" idx="13"/>
          </p:nvPr>
        </p:nvSpPr>
        <p:spPr>
          <a:xfrm>
            <a:off x="4802329" y="1161929"/>
            <a:ext cx="2495671" cy="2495671"/>
          </a:xfrm>
        </p:spPr>
        <p:txBody>
          <a:bodyPr/>
          <a:lstStyle/>
          <a:p>
            <a:endParaRPr lang="en-US" dirty="0"/>
          </a:p>
        </p:txBody>
      </p:sp>
      <p:sp>
        <p:nvSpPr>
          <p:cNvPr id="12" name="Text Placeholder 3">
            <a:extLst>
              <a:ext uri="{FF2B5EF4-FFF2-40B4-BE49-F238E27FC236}">
                <a16:creationId xmlns:a16="http://schemas.microsoft.com/office/drawing/2014/main" id="{26B563FC-7CED-5644-B1AB-671EF000DB31}"/>
              </a:ext>
            </a:extLst>
          </p:cNvPr>
          <p:cNvSpPr>
            <a:spLocks noGrp="1"/>
          </p:cNvSpPr>
          <p:nvPr>
            <p:ph type="body" sz="quarter" idx="14" hasCustomPrompt="1"/>
          </p:nvPr>
        </p:nvSpPr>
        <p:spPr>
          <a:xfrm>
            <a:off x="4802329"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Tree>
    <p:extLst>
      <p:ext uri="{BB962C8B-B14F-4D97-AF65-F5344CB8AC3E}">
        <p14:creationId xmlns:p14="http://schemas.microsoft.com/office/powerpoint/2010/main" val="22503706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eakers x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469141-C134-5D42-A06F-DA89145EDF43}"/>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ate Placeholder 3">
            <a:extLst>
              <a:ext uri="{FF2B5EF4-FFF2-40B4-BE49-F238E27FC236}">
                <a16:creationId xmlns:a16="http://schemas.microsoft.com/office/drawing/2014/main" id="{9AE58B7D-184B-584A-BF97-3560578F50E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University of Sydney</a:t>
            </a:r>
          </a:p>
        </p:txBody>
      </p:sp>
      <p:sp>
        <p:nvSpPr>
          <p:cNvPr id="9" name="Slide Number Placeholder 5">
            <a:extLst>
              <a:ext uri="{FF2B5EF4-FFF2-40B4-BE49-F238E27FC236}">
                <a16:creationId xmlns:a16="http://schemas.microsoft.com/office/drawing/2014/main" id="{817C0F2C-0369-A948-8D15-BB7548B8A4EE}"/>
              </a:ext>
            </a:extLst>
          </p:cNvPr>
          <p:cNvSpPr txBox="1">
            <a:spLocks/>
          </p:cNvSpPr>
          <p:nvPr userDrawn="1"/>
        </p:nvSpPr>
        <p:spPr>
          <a:xfrm>
            <a:off x="6629400" y="4767263"/>
            <a:ext cx="2133600" cy="274637"/>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solidFill>
                  <a:schemeClr val="bg1"/>
                </a:solidFill>
                <a:latin typeface="Arial" panose="020B0604020202020204" pitchFamily="34" charset="0"/>
                <a:cs typeface="Arial" panose="020B0604020202020204" pitchFamily="34" charset="0"/>
              </a:rPr>
              <a:t>Page </a:t>
            </a:r>
            <a:fld id="{17B45C2B-5911-204A-99D5-05E77B133151}" type="slidenum">
              <a:rPr lang="en-US" smtClean="0">
                <a:solidFill>
                  <a:schemeClr val="bg1"/>
                </a:solidFill>
                <a:latin typeface="Arial" panose="020B0604020202020204" pitchFamily="34" charset="0"/>
                <a:cs typeface="Arial" panose="020B0604020202020204" pitchFamily="34" charset="0"/>
              </a:rPr>
              <a:pPr fontAlgn="auto">
                <a:spcBef>
                  <a:spcPts val="0"/>
                </a:spcBef>
                <a:spcAft>
                  <a:spcPts val="0"/>
                </a:spcAft>
                <a:defRPr/>
              </a:pPr>
              <a:t>‹#›</a:t>
            </a:fld>
            <a:endParaRPr lang="en-US" dirty="0">
              <a:solidFill>
                <a:schemeClr val="bg1"/>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35F79E3-91A0-9F4E-AB82-97A90F71A1CB}"/>
              </a:ext>
            </a:extLst>
          </p:cNvPr>
          <p:cNvSpPr>
            <a:spLocks noGrp="1"/>
          </p:cNvSpPr>
          <p:nvPr>
            <p:ph type="body" sz="quarter" idx="10" hasCustomPrompt="1"/>
          </p:nvPr>
        </p:nvSpPr>
        <p:spPr>
          <a:xfrm>
            <a:off x="0" y="558484"/>
            <a:ext cx="9144000" cy="436394"/>
          </a:xfrm>
        </p:spPr>
        <p:txBody>
          <a:bodyPr/>
          <a:lstStyle>
            <a:lvl1pPr marL="0" indent="0" algn="ctr">
              <a:buNone/>
              <a:defRPr sz="1500">
                <a:solidFill>
                  <a:schemeClr val="bg1"/>
                </a:solidFill>
              </a:defRPr>
            </a:lvl1pPr>
            <a:lvl2pPr algn="ctr">
              <a:defRPr>
                <a:solidFill>
                  <a:schemeClr val="bg1"/>
                </a:solidFill>
              </a:defRPr>
            </a:lvl2pPr>
          </a:lstStyle>
          <a:p>
            <a:pPr lvl="0"/>
            <a:r>
              <a:rPr lang="en-US" dirty="0"/>
              <a:t>Insert heading</a:t>
            </a:r>
          </a:p>
        </p:txBody>
      </p:sp>
      <p:sp>
        <p:nvSpPr>
          <p:cNvPr id="6" name="Picture Placeholder 5">
            <a:extLst>
              <a:ext uri="{FF2B5EF4-FFF2-40B4-BE49-F238E27FC236}">
                <a16:creationId xmlns:a16="http://schemas.microsoft.com/office/drawing/2014/main" id="{28EE421A-DE97-FF4F-905F-DD673E8C1FB8}"/>
              </a:ext>
            </a:extLst>
          </p:cNvPr>
          <p:cNvSpPr>
            <a:spLocks noGrp="1"/>
          </p:cNvSpPr>
          <p:nvPr>
            <p:ph type="pic" sz="quarter" idx="11"/>
          </p:nvPr>
        </p:nvSpPr>
        <p:spPr>
          <a:xfrm>
            <a:off x="358775" y="1131316"/>
            <a:ext cx="2495671" cy="2495671"/>
          </a:xfrm>
        </p:spPr>
        <p:txBody>
          <a:bodyPr/>
          <a:lstStyle/>
          <a:p>
            <a:endParaRPr lang="en-US" dirty="0"/>
          </a:p>
        </p:txBody>
      </p:sp>
      <p:sp>
        <p:nvSpPr>
          <p:cNvPr id="10" name="Text Placeholder 3">
            <a:extLst>
              <a:ext uri="{FF2B5EF4-FFF2-40B4-BE49-F238E27FC236}">
                <a16:creationId xmlns:a16="http://schemas.microsoft.com/office/drawing/2014/main" id="{0B90342E-CD7E-6D41-8264-9DB0EE0A15EB}"/>
              </a:ext>
            </a:extLst>
          </p:cNvPr>
          <p:cNvSpPr>
            <a:spLocks noGrp="1"/>
          </p:cNvSpPr>
          <p:nvPr>
            <p:ph type="body" sz="quarter" idx="12" hasCustomPrompt="1"/>
          </p:nvPr>
        </p:nvSpPr>
        <p:spPr>
          <a:xfrm>
            <a:off x="358775"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
        <p:nvSpPr>
          <p:cNvPr id="11" name="Picture Placeholder 5">
            <a:extLst>
              <a:ext uri="{FF2B5EF4-FFF2-40B4-BE49-F238E27FC236}">
                <a16:creationId xmlns:a16="http://schemas.microsoft.com/office/drawing/2014/main" id="{FF76A7D6-7A78-6148-A3B4-2609AA4013B6}"/>
              </a:ext>
            </a:extLst>
          </p:cNvPr>
          <p:cNvSpPr>
            <a:spLocks noGrp="1"/>
          </p:cNvSpPr>
          <p:nvPr>
            <p:ph type="pic" sz="quarter" idx="13"/>
          </p:nvPr>
        </p:nvSpPr>
        <p:spPr>
          <a:xfrm>
            <a:off x="6289554" y="1161929"/>
            <a:ext cx="2495671" cy="2495671"/>
          </a:xfrm>
        </p:spPr>
        <p:txBody>
          <a:bodyPr/>
          <a:lstStyle/>
          <a:p>
            <a:endParaRPr lang="en-US" dirty="0"/>
          </a:p>
        </p:txBody>
      </p:sp>
      <p:sp>
        <p:nvSpPr>
          <p:cNvPr id="12" name="Text Placeholder 3">
            <a:extLst>
              <a:ext uri="{FF2B5EF4-FFF2-40B4-BE49-F238E27FC236}">
                <a16:creationId xmlns:a16="http://schemas.microsoft.com/office/drawing/2014/main" id="{26B563FC-7CED-5644-B1AB-671EF000DB31}"/>
              </a:ext>
            </a:extLst>
          </p:cNvPr>
          <p:cNvSpPr>
            <a:spLocks noGrp="1"/>
          </p:cNvSpPr>
          <p:nvPr>
            <p:ph type="body" sz="quarter" idx="14" hasCustomPrompt="1"/>
          </p:nvPr>
        </p:nvSpPr>
        <p:spPr>
          <a:xfrm>
            <a:off x="6289554"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
        <p:nvSpPr>
          <p:cNvPr id="13" name="Picture Placeholder 5">
            <a:extLst>
              <a:ext uri="{FF2B5EF4-FFF2-40B4-BE49-F238E27FC236}">
                <a16:creationId xmlns:a16="http://schemas.microsoft.com/office/drawing/2014/main" id="{2506C0EA-2FDF-4D40-AC77-BA8E081330C4}"/>
              </a:ext>
            </a:extLst>
          </p:cNvPr>
          <p:cNvSpPr>
            <a:spLocks noGrp="1"/>
          </p:cNvSpPr>
          <p:nvPr>
            <p:ph type="pic" sz="quarter" idx="15"/>
          </p:nvPr>
        </p:nvSpPr>
        <p:spPr>
          <a:xfrm>
            <a:off x="3324164" y="1161929"/>
            <a:ext cx="2495671" cy="2495671"/>
          </a:xfrm>
        </p:spPr>
        <p:txBody>
          <a:bodyPr/>
          <a:lstStyle/>
          <a:p>
            <a:endParaRPr lang="en-US" dirty="0"/>
          </a:p>
        </p:txBody>
      </p:sp>
      <p:sp>
        <p:nvSpPr>
          <p:cNvPr id="14" name="Text Placeholder 3">
            <a:extLst>
              <a:ext uri="{FF2B5EF4-FFF2-40B4-BE49-F238E27FC236}">
                <a16:creationId xmlns:a16="http://schemas.microsoft.com/office/drawing/2014/main" id="{034C32E3-245A-FC48-84D8-5DCFDE22B5C1}"/>
              </a:ext>
            </a:extLst>
          </p:cNvPr>
          <p:cNvSpPr>
            <a:spLocks noGrp="1"/>
          </p:cNvSpPr>
          <p:nvPr>
            <p:ph type="body" sz="quarter" idx="16" hasCustomPrompt="1"/>
          </p:nvPr>
        </p:nvSpPr>
        <p:spPr>
          <a:xfrm>
            <a:off x="3324164" y="3781125"/>
            <a:ext cx="2495671" cy="677863"/>
          </a:xfrm>
        </p:spPr>
        <p:txBody>
          <a:bodyPr/>
          <a:lstStyle>
            <a:lvl1pPr marL="0" indent="0" algn="ctr">
              <a:buNone/>
              <a:defRPr sz="15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Tree>
    <p:extLst>
      <p:ext uri="{BB962C8B-B14F-4D97-AF65-F5344CB8AC3E}">
        <p14:creationId xmlns:p14="http://schemas.microsoft.com/office/powerpoint/2010/main" val="31453584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eakers x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A469141-C134-5D42-A06F-DA89145EDF43}"/>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ate Placeholder 3">
            <a:extLst>
              <a:ext uri="{FF2B5EF4-FFF2-40B4-BE49-F238E27FC236}">
                <a16:creationId xmlns:a16="http://schemas.microsoft.com/office/drawing/2014/main" id="{9AE58B7D-184B-584A-BF97-3560578F50E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University of Sydney</a:t>
            </a:r>
          </a:p>
        </p:txBody>
      </p:sp>
      <p:sp>
        <p:nvSpPr>
          <p:cNvPr id="9" name="Slide Number Placeholder 5">
            <a:extLst>
              <a:ext uri="{FF2B5EF4-FFF2-40B4-BE49-F238E27FC236}">
                <a16:creationId xmlns:a16="http://schemas.microsoft.com/office/drawing/2014/main" id="{817C0F2C-0369-A948-8D15-BB7548B8A4EE}"/>
              </a:ext>
            </a:extLst>
          </p:cNvPr>
          <p:cNvSpPr txBox="1">
            <a:spLocks/>
          </p:cNvSpPr>
          <p:nvPr userDrawn="1"/>
        </p:nvSpPr>
        <p:spPr>
          <a:xfrm>
            <a:off x="6629400" y="4767263"/>
            <a:ext cx="2133600" cy="274637"/>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solidFill>
                  <a:schemeClr val="bg1"/>
                </a:solidFill>
                <a:latin typeface="Arial" panose="020B0604020202020204" pitchFamily="34" charset="0"/>
                <a:cs typeface="Arial" panose="020B0604020202020204" pitchFamily="34" charset="0"/>
              </a:rPr>
              <a:t>Page </a:t>
            </a:r>
            <a:fld id="{17B45C2B-5911-204A-99D5-05E77B133151}" type="slidenum">
              <a:rPr lang="en-US" smtClean="0">
                <a:solidFill>
                  <a:schemeClr val="bg1"/>
                </a:solidFill>
                <a:latin typeface="Arial" panose="020B0604020202020204" pitchFamily="34" charset="0"/>
                <a:cs typeface="Arial" panose="020B0604020202020204" pitchFamily="34" charset="0"/>
              </a:rPr>
              <a:pPr fontAlgn="auto">
                <a:spcBef>
                  <a:spcPts val="0"/>
                </a:spcBef>
                <a:spcAft>
                  <a:spcPts val="0"/>
                </a:spcAft>
                <a:defRPr/>
              </a:pPr>
              <a:t>‹#›</a:t>
            </a:fld>
            <a:endParaRPr lang="en-US" dirty="0">
              <a:solidFill>
                <a:schemeClr val="bg1"/>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E35F79E3-91A0-9F4E-AB82-97A90F71A1CB}"/>
              </a:ext>
            </a:extLst>
          </p:cNvPr>
          <p:cNvSpPr>
            <a:spLocks noGrp="1"/>
          </p:cNvSpPr>
          <p:nvPr>
            <p:ph type="body" sz="quarter" idx="10" hasCustomPrompt="1"/>
          </p:nvPr>
        </p:nvSpPr>
        <p:spPr>
          <a:xfrm>
            <a:off x="0" y="558484"/>
            <a:ext cx="9144000" cy="436394"/>
          </a:xfrm>
        </p:spPr>
        <p:txBody>
          <a:bodyPr/>
          <a:lstStyle>
            <a:lvl1pPr marL="0" indent="0" algn="ctr">
              <a:buNone/>
              <a:defRPr sz="1500">
                <a:solidFill>
                  <a:schemeClr val="bg1"/>
                </a:solidFill>
              </a:defRPr>
            </a:lvl1pPr>
            <a:lvl2pPr algn="ctr">
              <a:defRPr>
                <a:solidFill>
                  <a:schemeClr val="bg1"/>
                </a:solidFill>
              </a:defRPr>
            </a:lvl2pPr>
          </a:lstStyle>
          <a:p>
            <a:pPr lvl="0"/>
            <a:r>
              <a:rPr lang="en-US" dirty="0"/>
              <a:t>Insert heading</a:t>
            </a:r>
          </a:p>
        </p:txBody>
      </p:sp>
      <p:sp>
        <p:nvSpPr>
          <p:cNvPr id="13" name="Picture Placeholder 5">
            <a:extLst>
              <a:ext uri="{FF2B5EF4-FFF2-40B4-BE49-F238E27FC236}">
                <a16:creationId xmlns:a16="http://schemas.microsoft.com/office/drawing/2014/main" id="{2506C0EA-2FDF-4D40-AC77-BA8E081330C4}"/>
              </a:ext>
            </a:extLst>
          </p:cNvPr>
          <p:cNvSpPr>
            <a:spLocks noGrp="1"/>
          </p:cNvSpPr>
          <p:nvPr>
            <p:ph type="pic" sz="quarter" idx="15"/>
          </p:nvPr>
        </p:nvSpPr>
        <p:spPr>
          <a:xfrm>
            <a:off x="2560594" y="1601768"/>
            <a:ext cx="1806148" cy="1607648"/>
          </a:xfrm>
        </p:spPr>
        <p:txBody>
          <a:bodyPr/>
          <a:lstStyle/>
          <a:p>
            <a:endParaRPr lang="en-US" dirty="0"/>
          </a:p>
        </p:txBody>
      </p:sp>
      <p:sp>
        <p:nvSpPr>
          <p:cNvPr id="14" name="Text Placeholder 3">
            <a:extLst>
              <a:ext uri="{FF2B5EF4-FFF2-40B4-BE49-F238E27FC236}">
                <a16:creationId xmlns:a16="http://schemas.microsoft.com/office/drawing/2014/main" id="{034C32E3-245A-FC48-84D8-5DCFDE22B5C1}"/>
              </a:ext>
            </a:extLst>
          </p:cNvPr>
          <p:cNvSpPr>
            <a:spLocks noGrp="1"/>
          </p:cNvSpPr>
          <p:nvPr>
            <p:ph type="body" sz="quarter" idx="16" hasCustomPrompt="1"/>
          </p:nvPr>
        </p:nvSpPr>
        <p:spPr>
          <a:xfrm>
            <a:off x="2560594" y="3209850"/>
            <a:ext cx="1806148" cy="641404"/>
          </a:xfrm>
        </p:spPr>
        <p:txBody>
          <a:bodyPr/>
          <a:lstStyle>
            <a:lvl1pPr marL="0" indent="0" algn="ctr">
              <a:buNone/>
              <a:defRPr sz="12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
        <p:nvSpPr>
          <p:cNvPr id="11" name="Picture Placeholder 5">
            <a:extLst>
              <a:ext uri="{FF2B5EF4-FFF2-40B4-BE49-F238E27FC236}">
                <a16:creationId xmlns:a16="http://schemas.microsoft.com/office/drawing/2014/main" id="{DCB3E40F-3920-4543-AE7E-C77EDAC4490D}"/>
              </a:ext>
            </a:extLst>
          </p:cNvPr>
          <p:cNvSpPr>
            <a:spLocks noGrp="1"/>
          </p:cNvSpPr>
          <p:nvPr>
            <p:ph type="pic" sz="quarter" idx="17"/>
          </p:nvPr>
        </p:nvSpPr>
        <p:spPr>
          <a:xfrm>
            <a:off x="357325" y="1601768"/>
            <a:ext cx="1806148" cy="1607648"/>
          </a:xfrm>
        </p:spPr>
        <p:txBody>
          <a:bodyPr/>
          <a:lstStyle/>
          <a:p>
            <a:endParaRPr lang="en-US" dirty="0"/>
          </a:p>
        </p:txBody>
      </p:sp>
      <p:sp>
        <p:nvSpPr>
          <p:cNvPr id="15" name="Text Placeholder 3">
            <a:extLst>
              <a:ext uri="{FF2B5EF4-FFF2-40B4-BE49-F238E27FC236}">
                <a16:creationId xmlns:a16="http://schemas.microsoft.com/office/drawing/2014/main" id="{67C82213-A84D-FE49-A3A4-73D878537573}"/>
              </a:ext>
            </a:extLst>
          </p:cNvPr>
          <p:cNvSpPr>
            <a:spLocks noGrp="1"/>
          </p:cNvSpPr>
          <p:nvPr>
            <p:ph type="body" sz="quarter" idx="18" hasCustomPrompt="1"/>
          </p:nvPr>
        </p:nvSpPr>
        <p:spPr>
          <a:xfrm>
            <a:off x="357326" y="3209850"/>
            <a:ext cx="1806148" cy="641404"/>
          </a:xfrm>
        </p:spPr>
        <p:txBody>
          <a:bodyPr/>
          <a:lstStyle>
            <a:lvl1pPr marL="0" indent="0" algn="ctr">
              <a:buNone/>
              <a:defRPr sz="1200" b="1">
                <a:solidFill>
                  <a:schemeClr val="bg1"/>
                </a:solidFill>
              </a:defRPr>
            </a:lvl1pPr>
            <a:lvl2pPr algn="ctr">
              <a:defRPr>
                <a:solidFill>
                  <a:schemeClr val="bg1"/>
                </a:solidFill>
              </a:defRPr>
            </a:lvl2pPr>
          </a:lstStyle>
          <a:p>
            <a:pPr lvl="0"/>
            <a:r>
              <a:rPr lang="en-US" dirty="0"/>
              <a:t>First name Last name</a:t>
            </a:r>
          </a:p>
          <a:p>
            <a:pPr lvl="0"/>
            <a:r>
              <a:rPr lang="en-US" dirty="0"/>
              <a:t>Centre/faculty institute</a:t>
            </a:r>
          </a:p>
        </p:txBody>
      </p:sp>
      <p:sp>
        <p:nvSpPr>
          <p:cNvPr id="16" name="Picture Placeholder 5">
            <a:extLst>
              <a:ext uri="{FF2B5EF4-FFF2-40B4-BE49-F238E27FC236}">
                <a16:creationId xmlns:a16="http://schemas.microsoft.com/office/drawing/2014/main" id="{F19FE3A2-4A04-5E47-9CCD-A71A405F33FB}"/>
              </a:ext>
            </a:extLst>
          </p:cNvPr>
          <p:cNvSpPr>
            <a:spLocks noGrp="1"/>
          </p:cNvSpPr>
          <p:nvPr>
            <p:ph type="pic" sz="quarter" idx="19"/>
          </p:nvPr>
        </p:nvSpPr>
        <p:spPr>
          <a:xfrm>
            <a:off x="6976641" y="1601768"/>
            <a:ext cx="1806148" cy="1607648"/>
          </a:xfrm>
        </p:spPr>
        <p:txBody>
          <a:bodyPr/>
          <a:lstStyle/>
          <a:p>
            <a:endParaRPr lang="en-US" dirty="0"/>
          </a:p>
        </p:txBody>
      </p:sp>
      <p:sp>
        <p:nvSpPr>
          <p:cNvPr id="17" name="Text Placeholder 3">
            <a:extLst>
              <a:ext uri="{FF2B5EF4-FFF2-40B4-BE49-F238E27FC236}">
                <a16:creationId xmlns:a16="http://schemas.microsoft.com/office/drawing/2014/main" id="{3E901A77-F200-4144-A100-F71A9941EA8E}"/>
              </a:ext>
            </a:extLst>
          </p:cNvPr>
          <p:cNvSpPr>
            <a:spLocks noGrp="1"/>
          </p:cNvSpPr>
          <p:nvPr>
            <p:ph type="body" sz="quarter" idx="20" hasCustomPrompt="1"/>
          </p:nvPr>
        </p:nvSpPr>
        <p:spPr>
          <a:xfrm>
            <a:off x="6976642" y="3209850"/>
            <a:ext cx="1806148" cy="641404"/>
          </a:xfrm>
        </p:spPr>
        <p:txBody>
          <a:bodyPr/>
          <a:lstStyle>
            <a:lvl1pPr marL="0" indent="0" algn="ctr">
              <a:buNone/>
              <a:defRPr sz="12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
        <p:nvSpPr>
          <p:cNvPr id="18" name="Picture Placeholder 5">
            <a:extLst>
              <a:ext uri="{FF2B5EF4-FFF2-40B4-BE49-F238E27FC236}">
                <a16:creationId xmlns:a16="http://schemas.microsoft.com/office/drawing/2014/main" id="{FBA3109C-AEDA-AA45-9388-5853EF8E2141}"/>
              </a:ext>
            </a:extLst>
          </p:cNvPr>
          <p:cNvSpPr>
            <a:spLocks noGrp="1"/>
          </p:cNvSpPr>
          <p:nvPr>
            <p:ph type="pic" sz="quarter" idx="21"/>
          </p:nvPr>
        </p:nvSpPr>
        <p:spPr>
          <a:xfrm>
            <a:off x="4763863" y="1601768"/>
            <a:ext cx="1806148" cy="1607648"/>
          </a:xfrm>
        </p:spPr>
        <p:txBody>
          <a:bodyPr/>
          <a:lstStyle/>
          <a:p>
            <a:endParaRPr lang="en-US" dirty="0"/>
          </a:p>
        </p:txBody>
      </p:sp>
      <p:sp>
        <p:nvSpPr>
          <p:cNvPr id="19" name="Text Placeholder 3">
            <a:extLst>
              <a:ext uri="{FF2B5EF4-FFF2-40B4-BE49-F238E27FC236}">
                <a16:creationId xmlns:a16="http://schemas.microsoft.com/office/drawing/2014/main" id="{249FBFF4-4197-8B4A-B6DC-5CC4FD27A3E7}"/>
              </a:ext>
            </a:extLst>
          </p:cNvPr>
          <p:cNvSpPr>
            <a:spLocks noGrp="1"/>
          </p:cNvSpPr>
          <p:nvPr>
            <p:ph type="body" sz="quarter" idx="22" hasCustomPrompt="1"/>
          </p:nvPr>
        </p:nvSpPr>
        <p:spPr>
          <a:xfrm>
            <a:off x="4750662" y="3209416"/>
            <a:ext cx="1806148" cy="641404"/>
          </a:xfrm>
        </p:spPr>
        <p:txBody>
          <a:bodyPr/>
          <a:lstStyle>
            <a:lvl1pPr marL="0" indent="0" algn="ctr">
              <a:buNone/>
              <a:defRPr sz="1200" b="1">
                <a:solidFill>
                  <a:schemeClr val="bg1"/>
                </a:solidFill>
              </a:defRPr>
            </a:lvl1pPr>
            <a:lvl2pPr algn="ctr">
              <a:defRPr>
                <a:solidFill>
                  <a:schemeClr val="bg1"/>
                </a:solidFill>
              </a:defRPr>
            </a:lvl2pPr>
          </a:lstStyle>
          <a:p>
            <a:pPr lvl="0"/>
            <a:r>
              <a:rPr lang="en-US" dirty="0"/>
              <a:t>First name last name</a:t>
            </a:r>
          </a:p>
          <a:p>
            <a:pPr lvl="0"/>
            <a:r>
              <a:rPr lang="en-US" dirty="0"/>
              <a:t>Centre/Faculty</a:t>
            </a:r>
          </a:p>
        </p:txBody>
      </p:sp>
    </p:spTree>
    <p:extLst>
      <p:ext uri="{BB962C8B-B14F-4D97-AF65-F5344CB8AC3E}">
        <p14:creationId xmlns:p14="http://schemas.microsoft.com/office/powerpoint/2010/main" val="36811590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entation guidelin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F3E1B39-8151-1541-B682-FD997A95D6AE}"/>
              </a:ext>
            </a:extLst>
          </p:cNvPr>
          <p:cNvSpPr>
            <a:spLocks noGrp="1"/>
          </p:cNvSpPr>
          <p:nvPr>
            <p:ph type="body" sz="quarter" idx="10"/>
          </p:nvPr>
        </p:nvSpPr>
        <p:spPr>
          <a:xfrm>
            <a:off x="358775" y="376238"/>
            <a:ext cx="8426450" cy="4391025"/>
          </a:xfrm>
        </p:spPr>
        <p:txBody>
          <a:bodyPr/>
          <a:lstStyle>
            <a:lvl1pPr>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6701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4667B1B-46F3-764F-858B-7A77E9F54AB5}"/>
              </a:ext>
            </a:extLst>
          </p:cNvPr>
          <p:cNvSpPr>
            <a:spLocks noGrp="1"/>
          </p:cNvSpPr>
          <p:nvPr>
            <p:ph type="pic" sz="quarter" idx="10"/>
          </p:nvPr>
        </p:nvSpPr>
        <p:spPr>
          <a:xfrm>
            <a:off x="360000" y="376238"/>
            <a:ext cx="8430972" cy="4391025"/>
          </a:xfrm>
        </p:spPr>
        <p:txBody>
          <a:bodyPr/>
          <a:lstStyle/>
          <a:p>
            <a:endParaRPr lang="en-US"/>
          </a:p>
        </p:txBody>
      </p:sp>
    </p:spTree>
    <p:extLst>
      <p:ext uri="{BB962C8B-B14F-4D97-AF65-F5344CB8AC3E}">
        <p14:creationId xmlns:p14="http://schemas.microsoft.com/office/powerpoint/2010/main" val="6827126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py left image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4A3A69-83F8-E944-9D67-7443D8125C8F}"/>
              </a:ext>
            </a:extLst>
          </p:cNvPr>
          <p:cNvSpPr>
            <a:spLocks noGrp="1"/>
          </p:cNvSpPr>
          <p:nvPr>
            <p:ph type="title" hasCustomPrompt="1"/>
          </p:nvPr>
        </p:nvSpPr>
        <p:spPr>
          <a:xfrm>
            <a:off x="360000" y="376238"/>
            <a:ext cx="3662413" cy="841012"/>
          </a:xfrm>
        </p:spPr>
        <p:txBody>
          <a:bodyPr lIns="0" tIns="0" rIns="0" bIns="0" anchor="t" anchorCtr="0"/>
          <a:lstStyle/>
          <a:p>
            <a:r>
              <a:rPr lang="en-US" dirty="0"/>
              <a:t>Heading</a:t>
            </a:r>
          </a:p>
        </p:txBody>
      </p:sp>
      <p:sp>
        <p:nvSpPr>
          <p:cNvPr id="7" name="Text Placeholder 3">
            <a:extLst>
              <a:ext uri="{FF2B5EF4-FFF2-40B4-BE49-F238E27FC236}">
                <a16:creationId xmlns:a16="http://schemas.microsoft.com/office/drawing/2014/main" id="{67AC70B7-8E42-074D-8D64-F567ECEA0FDA}"/>
              </a:ext>
            </a:extLst>
          </p:cNvPr>
          <p:cNvSpPr>
            <a:spLocks noGrp="1"/>
          </p:cNvSpPr>
          <p:nvPr>
            <p:ph type="body" sz="quarter" idx="10" hasCustomPrompt="1"/>
          </p:nvPr>
        </p:nvSpPr>
        <p:spPr>
          <a:xfrm>
            <a:off x="359999" y="1373560"/>
            <a:ext cx="3662413" cy="3005819"/>
          </a:xfrm>
        </p:spPr>
        <p:txBody>
          <a:bodyPr lIns="0" tIns="0" rIns="0" bIns="0"/>
          <a:lstStyle>
            <a:lvl1pPr marL="285750" indent="-285750">
              <a:lnSpc>
                <a:spcPct val="100000"/>
              </a:lnSpc>
              <a:spcBef>
                <a:spcPts val="600"/>
              </a:spcBef>
              <a:buClr>
                <a:schemeClr val="accent1"/>
              </a:buClr>
              <a:buFont typeface="System Font Regular"/>
              <a:buChar char="-"/>
              <a:defRPr sz="2000" b="0">
                <a:solidFill>
                  <a:srgbClr val="343433"/>
                </a:solidFill>
              </a:defRPr>
            </a:lvl1pPr>
          </a:lstStyle>
          <a:p>
            <a:pPr marL="0" indent="0">
              <a:lnSpc>
                <a:spcPct val="100000"/>
              </a:lnSpc>
              <a:spcBef>
                <a:spcPts val="600"/>
              </a:spcBef>
              <a:buClr>
                <a:schemeClr val="accent1"/>
              </a:buClr>
              <a:buNone/>
            </a:pPr>
            <a:r>
              <a:rPr lang="en-AU" sz="1600" dirty="0">
                <a:solidFill>
                  <a:srgbClr val="343433"/>
                </a:solidFill>
                <a:latin typeface="Arial" panose="020B0604020202020204" pitchFamily="34" charset="0"/>
                <a:cs typeface="Arial" panose="020B0604020202020204" pitchFamily="34" charset="0"/>
              </a:rPr>
              <a:t>Text:</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1</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2</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3</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4</a:t>
            </a:r>
            <a:endParaRPr lang="en-US" dirty="0"/>
          </a:p>
        </p:txBody>
      </p:sp>
      <p:sp>
        <p:nvSpPr>
          <p:cNvPr id="8" name="Picture Placeholder 2">
            <a:extLst>
              <a:ext uri="{FF2B5EF4-FFF2-40B4-BE49-F238E27FC236}">
                <a16:creationId xmlns:a16="http://schemas.microsoft.com/office/drawing/2014/main" id="{FD591EDD-E1EF-0F44-B52B-EDF508967E41}"/>
              </a:ext>
            </a:extLst>
          </p:cNvPr>
          <p:cNvSpPr>
            <a:spLocks noGrp="1"/>
          </p:cNvSpPr>
          <p:nvPr>
            <p:ph type="pic" sz="quarter" idx="11"/>
          </p:nvPr>
        </p:nvSpPr>
        <p:spPr>
          <a:xfrm>
            <a:off x="4572000" y="0"/>
            <a:ext cx="4572000" cy="5143500"/>
          </a:xfrm>
        </p:spPr>
        <p:txBody>
          <a:bodyPr/>
          <a:lstStyle/>
          <a:p>
            <a:endParaRPr lang="en-US"/>
          </a:p>
        </p:txBody>
      </p:sp>
      <p:sp>
        <p:nvSpPr>
          <p:cNvPr id="5" name="Text Placeholder 2">
            <a:extLst>
              <a:ext uri="{FF2B5EF4-FFF2-40B4-BE49-F238E27FC236}">
                <a16:creationId xmlns:a16="http://schemas.microsoft.com/office/drawing/2014/main" id="{A55DB6E2-C968-43A3-917D-CAA0C3107F31}"/>
              </a:ext>
            </a:extLst>
          </p:cNvPr>
          <p:cNvSpPr>
            <a:spLocks noGrp="1"/>
          </p:cNvSpPr>
          <p:nvPr>
            <p:ph type="body" sz="quarter" idx="13" hasCustomPrompt="1"/>
          </p:nvPr>
        </p:nvSpPr>
        <p:spPr>
          <a:xfrm>
            <a:off x="359999" y="4379379"/>
            <a:ext cx="3662413"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2545800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ochre left justifi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031483D-DA28-2442-A81B-F28DE6B1B7D8}"/>
              </a:ext>
            </a:extLst>
          </p:cNvPr>
          <p:cNvSpPr/>
          <p:nvPr userDrawn="1"/>
        </p:nvSpPr>
        <p:spPr>
          <a:xfrm>
            <a:off x="0" y="0"/>
            <a:ext cx="9143999"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Title 8"/>
          <p:cNvSpPr>
            <a:spLocks noGrp="1"/>
          </p:cNvSpPr>
          <p:nvPr>
            <p:ph type="title" hasCustomPrompt="1"/>
          </p:nvPr>
        </p:nvSpPr>
        <p:spPr>
          <a:xfrm>
            <a:off x="381884" y="1212811"/>
            <a:ext cx="8407184" cy="531455"/>
          </a:xfrm>
        </p:spPr>
        <p:txBody>
          <a:bodyPr anchor="t"/>
          <a:lstStyle>
            <a:lvl1pPr algn="l">
              <a:defRPr sz="2200">
                <a:solidFill>
                  <a:schemeClr val="bg1"/>
                </a:solidFill>
              </a:defRPr>
            </a:lvl1pPr>
          </a:lstStyle>
          <a:p>
            <a:r>
              <a:rPr lang="en-US" dirty="0"/>
              <a:t>Title heading here</a:t>
            </a:r>
          </a:p>
        </p:txBody>
      </p:sp>
      <p:sp>
        <p:nvSpPr>
          <p:cNvPr id="16" name="Text Placeholder 4"/>
          <p:cNvSpPr>
            <a:spLocks noGrp="1"/>
          </p:cNvSpPr>
          <p:nvPr>
            <p:ph type="body" sz="quarter" idx="13" hasCustomPrompt="1"/>
          </p:nvPr>
        </p:nvSpPr>
        <p:spPr>
          <a:xfrm>
            <a:off x="382766" y="1852175"/>
            <a:ext cx="8406302" cy="532800"/>
          </a:xfrm>
        </p:spPr>
        <p:txBody>
          <a:bodyPr lIns="0" tIns="0" rIns="0" bIns="0"/>
          <a:lstStyle>
            <a:lvl1pPr marL="0" indent="0" algn="l">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8775" y="4127897"/>
            <a:ext cx="1852610" cy="640800"/>
          </a:xfrm>
          <a:prstGeom prst="rect">
            <a:avLst/>
          </a:prstGeom>
        </p:spPr>
      </p:pic>
    </p:spTree>
    <p:extLst>
      <p:ext uri="{BB962C8B-B14F-4D97-AF65-F5344CB8AC3E}">
        <p14:creationId xmlns:p14="http://schemas.microsoft.com/office/powerpoint/2010/main" val="4561667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 Red option 4">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4A3A69-83F8-E944-9D67-7443D8125C8F}"/>
              </a:ext>
            </a:extLst>
          </p:cNvPr>
          <p:cNvSpPr>
            <a:spLocks noGrp="1"/>
          </p:cNvSpPr>
          <p:nvPr>
            <p:ph type="title" hasCustomPrompt="1"/>
          </p:nvPr>
        </p:nvSpPr>
        <p:spPr>
          <a:xfrm>
            <a:off x="5122812" y="376238"/>
            <a:ext cx="3662413" cy="841012"/>
          </a:xfrm>
        </p:spPr>
        <p:txBody>
          <a:bodyPr lIns="0" tIns="0" rIns="0" bIns="0" anchor="t" anchorCtr="0"/>
          <a:lstStyle/>
          <a:p>
            <a:r>
              <a:rPr lang="en-US" dirty="0"/>
              <a:t>Heading</a:t>
            </a:r>
          </a:p>
        </p:txBody>
      </p:sp>
      <p:sp>
        <p:nvSpPr>
          <p:cNvPr id="7" name="Text Placeholder 3">
            <a:extLst>
              <a:ext uri="{FF2B5EF4-FFF2-40B4-BE49-F238E27FC236}">
                <a16:creationId xmlns:a16="http://schemas.microsoft.com/office/drawing/2014/main" id="{67AC70B7-8E42-074D-8D64-F567ECEA0FDA}"/>
              </a:ext>
            </a:extLst>
          </p:cNvPr>
          <p:cNvSpPr>
            <a:spLocks noGrp="1"/>
          </p:cNvSpPr>
          <p:nvPr>
            <p:ph type="body" sz="quarter" idx="10" hasCustomPrompt="1"/>
          </p:nvPr>
        </p:nvSpPr>
        <p:spPr>
          <a:xfrm>
            <a:off x="5122812" y="1373560"/>
            <a:ext cx="3662413" cy="3005819"/>
          </a:xfrm>
        </p:spPr>
        <p:txBody>
          <a:bodyPr lIns="0" tIns="0" rIns="0" bIns="0"/>
          <a:lstStyle>
            <a:lvl1pPr marL="285750" indent="-285750">
              <a:lnSpc>
                <a:spcPct val="100000"/>
              </a:lnSpc>
              <a:spcBef>
                <a:spcPts val="600"/>
              </a:spcBef>
              <a:buClr>
                <a:schemeClr val="accent1"/>
              </a:buClr>
              <a:buFont typeface="System Font Regular"/>
              <a:buChar char="-"/>
              <a:defRPr sz="1200" b="0">
                <a:solidFill>
                  <a:srgbClr val="343433"/>
                </a:solidFill>
              </a:defRPr>
            </a:lvl1pPr>
          </a:lstStyle>
          <a:p>
            <a:pPr marL="0" indent="0">
              <a:lnSpc>
                <a:spcPct val="100000"/>
              </a:lnSpc>
              <a:spcBef>
                <a:spcPts val="600"/>
              </a:spcBef>
              <a:buClr>
                <a:schemeClr val="accent1"/>
              </a:buClr>
              <a:buNone/>
            </a:pPr>
            <a:r>
              <a:rPr lang="en-AU" sz="1600" dirty="0">
                <a:solidFill>
                  <a:srgbClr val="343433"/>
                </a:solidFill>
                <a:latin typeface="Arial" panose="020B0604020202020204" pitchFamily="34" charset="0"/>
                <a:cs typeface="Arial" panose="020B0604020202020204" pitchFamily="34" charset="0"/>
              </a:rPr>
              <a:t>Text:</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1</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2</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3</a:t>
            </a:r>
          </a:p>
          <a:p>
            <a:pPr>
              <a:lnSpc>
                <a:spcPct val="100000"/>
              </a:lnSpc>
              <a:spcBef>
                <a:spcPts val="600"/>
              </a:spcBef>
              <a:buClr>
                <a:schemeClr val="accent1"/>
              </a:buClr>
            </a:pPr>
            <a:r>
              <a:rPr lang="en-AU" sz="1600" dirty="0">
                <a:solidFill>
                  <a:srgbClr val="343433"/>
                </a:solidFill>
                <a:latin typeface="Arial" panose="020B0604020202020204" pitchFamily="34" charset="0"/>
                <a:cs typeface="Arial" panose="020B0604020202020204" pitchFamily="34" charset="0"/>
              </a:rPr>
              <a:t>Point 4</a:t>
            </a:r>
            <a:endParaRPr lang="en-US" dirty="0"/>
          </a:p>
        </p:txBody>
      </p:sp>
      <p:sp>
        <p:nvSpPr>
          <p:cNvPr id="16" name="Picture Placeholder 2">
            <a:extLst>
              <a:ext uri="{FF2B5EF4-FFF2-40B4-BE49-F238E27FC236}">
                <a16:creationId xmlns:a16="http://schemas.microsoft.com/office/drawing/2014/main" id="{D3C35D31-9C0E-44CF-BFD7-DD8D1B751C76}"/>
              </a:ext>
            </a:extLst>
          </p:cNvPr>
          <p:cNvSpPr>
            <a:spLocks noGrp="1"/>
          </p:cNvSpPr>
          <p:nvPr>
            <p:ph type="pic" sz="quarter" idx="12"/>
          </p:nvPr>
        </p:nvSpPr>
        <p:spPr>
          <a:xfrm>
            <a:off x="0" y="0"/>
            <a:ext cx="4572000" cy="5143500"/>
          </a:xfrm>
        </p:spPr>
        <p:txBody>
          <a:bodyPr/>
          <a:lstStyle/>
          <a:p>
            <a:endParaRPr lang="en-US"/>
          </a:p>
        </p:txBody>
      </p:sp>
      <p:sp>
        <p:nvSpPr>
          <p:cNvPr id="17" name="Text Placeholder 2">
            <a:extLst>
              <a:ext uri="{FF2B5EF4-FFF2-40B4-BE49-F238E27FC236}">
                <a16:creationId xmlns:a16="http://schemas.microsoft.com/office/drawing/2014/main" id="{C13B601F-7AA9-4504-A9B8-E67AE34674EC}"/>
              </a:ext>
            </a:extLst>
          </p:cNvPr>
          <p:cNvSpPr>
            <a:spLocks noGrp="1"/>
          </p:cNvSpPr>
          <p:nvPr>
            <p:ph type="body" sz="quarter" idx="13" hasCustomPrompt="1"/>
          </p:nvPr>
        </p:nvSpPr>
        <p:spPr>
          <a:xfrm>
            <a:off x="5122812" y="4379379"/>
            <a:ext cx="3662413"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1179633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ouble heading and text boxe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FDB2844-75A1-F046-B436-56BA099D686A}"/>
              </a:ext>
            </a:extLst>
          </p:cNvPr>
          <p:cNvSpPr>
            <a:spLocks noGrp="1"/>
          </p:cNvSpPr>
          <p:nvPr>
            <p:ph type="body" sz="quarter" idx="10" hasCustomPrompt="1"/>
          </p:nvPr>
        </p:nvSpPr>
        <p:spPr>
          <a:xfrm>
            <a:off x="359733" y="993600"/>
            <a:ext cx="8425492" cy="555625"/>
          </a:xfrm>
        </p:spPr>
        <p:txBody>
          <a:bodyPr lIns="0" tIns="0" rIns="0" bIns="0"/>
          <a:lstStyle>
            <a:lvl1pPr marL="0" indent="0">
              <a:buNone/>
              <a:defRPr>
                <a:solidFill>
                  <a:srgbClr val="343433"/>
                </a:solidFill>
              </a:defRPr>
            </a:lvl1pPr>
          </a:lstStyle>
          <a:p>
            <a:pPr lvl="0"/>
            <a:r>
              <a:rPr lang="en-US" dirty="0"/>
              <a:t>Intro copy here</a:t>
            </a:r>
          </a:p>
        </p:txBody>
      </p:sp>
      <p:sp>
        <p:nvSpPr>
          <p:cNvPr id="2" name="Title 1">
            <a:extLst>
              <a:ext uri="{FF2B5EF4-FFF2-40B4-BE49-F238E27FC236}">
                <a16:creationId xmlns:a16="http://schemas.microsoft.com/office/drawing/2014/main" id="{FEB964E3-FECD-244F-9F6D-E57C8736B6CF}"/>
              </a:ext>
            </a:extLst>
          </p:cNvPr>
          <p:cNvSpPr>
            <a:spLocks noGrp="1"/>
          </p:cNvSpPr>
          <p:nvPr>
            <p:ph type="title"/>
          </p:nvPr>
        </p:nvSpPr>
        <p:spPr/>
        <p:txBody>
          <a:bodyPr/>
          <a:lstStyle/>
          <a:p>
            <a:r>
              <a:rPr lang="en-US" dirty="0"/>
              <a:t>Click to edit Master title style</a:t>
            </a:r>
          </a:p>
        </p:txBody>
      </p:sp>
      <p:sp>
        <p:nvSpPr>
          <p:cNvPr id="14" name="Text Placeholder 3">
            <a:extLst>
              <a:ext uri="{FF2B5EF4-FFF2-40B4-BE49-F238E27FC236}">
                <a16:creationId xmlns:a16="http://schemas.microsoft.com/office/drawing/2014/main" id="{A9A5A20B-A3A8-0644-8A24-864C592BB1ED}"/>
              </a:ext>
            </a:extLst>
          </p:cNvPr>
          <p:cNvSpPr>
            <a:spLocks noGrp="1"/>
          </p:cNvSpPr>
          <p:nvPr>
            <p:ph type="body" sz="quarter" idx="17" hasCustomPrompt="1"/>
          </p:nvPr>
        </p:nvSpPr>
        <p:spPr>
          <a:xfrm>
            <a:off x="2527512" y="2943225"/>
            <a:ext cx="1920240" cy="1420813"/>
          </a:xfrm>
        </p:spPr>
        <p:txBody>
          <a:bodyPr/>
          <a:lstStyle/>
          <a:p>
            <a:pPr lvl="0"/>
            <a:r>
              <a:rPr lang="en-US" dirty="0"/>
              <a:t>Insert text</a:t>
            </a:r>
          </a:p>
        </p:txBody>
      </p:sp>
      <p:sp>
        <p:nvSpPr>
          <p:cNvPr id="19" name="Text Placeholder 3">
            <a:extLst>
              <a:ext uri="{FF2B5EF4-FFF2-40B4-BE49-F238E27FC236}">
                <a16:creationId xmlns:a16="http://schemas.microsoft.com/office/drawing/2014/main" id="{E6C428A3-703E-5B43-9CAA-334439257768}"/>
              </a:ext>
            </a:extLst>
          </p:cNvPr>
          <p:cNvSpPr>
            <a:spLocks noGrp="1"/>
          </p:cNvSpPr>
          <p:nvPr>
            <p:ph type="body" sz="quarter" idx="18" hasCustomPrompt="1"/>
          </p:nvPr>
        </p:nvSpPr>
        <p:spPr>
          <a:xfrm>
            <a:off x="4696249" y="2943225"/>
            <a:ext cx="1920240" cy="1420813"/>
          </a:xfrm>
        </p:spPr>
        <p:txBody>
          <a:bodyPr/>
          <a:lstStyle/>
          <a:p>
            <a:pPr lvl="0"/>
            <a:r>
              <a:rPr lang="en-US" dirty="0"/>
              <a:t>Insert text</a:t>
            </a:r>
          </a:p>
        </p:txBody>
      </p:sp>
      <p:sp>
        <p:nvSpPr>
          <p:cNvPr id="10" name="Text Placeholder 3">
            <a:extLst>
              <a:ext uri="{FF2B5EF4-FFF2-40B4-BE49-F238E27FC236}">
                <a16:creationId xmlns:a16="http://schemas.microsoft.com/office/drawing/2014/main" id="{8B4E2EF0-9062-4F05-9A3B-77EF8F83B0CC}"/>
              </a:ext>
            </a:extLst>
          </p:cNvPr>
          <p:cNvSpPr>
            <a:spLocks noGrp="1"/>
          </p:cNvSpPr>
          <p:nvPr>
            <p:ph type="body" sz="quarter" idx="19" hasCustomPrompt="1"/>
          </p:nvPr>
        </p:nvSpPr>
        <p:spPr>
          <a:xfrm>
            <a:off x="6864985" y="2943225"/>
            <a:ext cx="1920240" cy="1420813"/>
          </a:xfrm>
        </p:spPr>
        <p:txBody>
          <a:bodyPr/>
          <a:lstStyle/>
          <a:p>
            <a:pPr lvl="0"/>
            <a:r>
              <a:rPr lang="en-US" dirty="0"/>
              <a:t>Insert text</a:t>
            </a:r>
          </a:p>
        </p:txBody>
      </p:sp>
      <p:sp>
        <p:nvSpPr>
          <p:cNvPr id="11" name="Text Placeholder 3">
            <a:extLst>
              <a:ext uri="{FF2B5EF4-FFF2-40B4-BE49-F238E27FC236}">
                <a16:creationId xmlns:a16="http://schemas.microsoft.com/office/drawing/2014/main" id="{ECB8694C-9422-48F7-87AC-E0ABCD95A092}"/>
              </a:ext>
            </a:extLst>
          </p:cNvPr>
          <p:cNvSpPr>
            <a:spLocks noGrp="1"/>
          </p:cNvSpPr>
          <p:nvPr>
            <p:ph type="body" sz="quarter" idx="20" hasCustomPrompt="1"/>
          </p:nvPr>
        </p:nvSpPr>
        <p:spPr>
          <a:xfrm>
            <a:off x="358775" y="2943225"/>
            <a:ext cx="1920240" cy="1420813"/>
          </a:xfrm>
        </p:spPr>
        <p:txBody>
          <a:bodyPr/>
          <a:lstStyle/>
          <a:p>
            <a:pPr lvl="0"/>
            <a:r>
              <a:rPr lang="en-US" dirty="0"/>
              <a:t>Insert text</a:t>
            </a:r>
          </a:p>
        </p:txBody>
      </p:sp>
      <p:sp>
        <p:nvSpPr>
          <p:cNvPr id="15" name="Rectangle 14"/>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7"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8"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835458697"/>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oube heading">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FDB2844-75A1-F046-B436-56BA099D686A}"/>
              </a:ext>
            </a:extLst>
          </p:cNvPr>
          <p:cNvSpPr>
            <a:spLocks noGrp="1"/>
          </p:cNvSpPr>
          <p:nvPr>
            <p:ph type="body" sz="quarter" idx="10" hasCustomPrompt="1"/>
          </p:nvPr>
        </p:nvSpPr>
        <p:spPr>
          <a:xfrm>
            <a:off x="359733" y="993600"/>
            <a:ext cx="8425492" cy="555625"/>
          </a:xfrm>
        </p:spPr>
        <p:txBody>
          <a:bodyPr lIns="0" tIns="0" rIns="0" bIns="0"/>
          <a:lstStyle>
            <a:lvl1pPr marL="0" indent="0">
              <a:buNone/>
              <a:defRPr>
                <a:solidFill>
                  <a:srgbClr val="343433"/>
                </a:solidFill>
              </a:defRPr>
            </a:lvl1pPr>
          </a:lstStyle>
          <a:p>
            <a:pPr lvl="0"/>
            <a:r>
              <a:rPr lang="en-US" dirty="0"/>
              <a:t>Intro copy here</a:t>
            </a:r>
          </a:p>
        </p:txBody>
      </p:sp>
      <p:sp>
        <p:nvSpPr>
          <p:cNvPr id="2" name="Title 1">
            <a:extLst>
              <a:ext uri="{FF2B5EF4-FFF2-40B4-BE49-F238E27FC236}">
                <a16:creationId xmlns:a16="http://schemas.microsoft.com/office/drawing/2014/main" id="{FEB964E3-FECD-244F-9F6D-E57C8736B6CF}"/>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1397213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with background map">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9" name="Picture 8" descr="A close up of a person&#10;&#10;Description automatically generated">
            <a:extLst>
              <a:ext uri="{FF2B5EF4-FFF2-40B4-BE49-F238E27FC236}">
                <a16:creationId xmlns:a16="http://schemas.microsoft.com/office/drawing/2014/main" id="{826D5A0A-02E3-D346-A6A9-79C613EEB8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3" name="Title 1">
            <a:extLst>
              <a:ext uri="{FF2B5EF4-FFF2-40B4-BE49-F238E27FC236}">
                <a16:creationId xmlns:a16="http://schemas.microsoft.com/office/drawing/2014/main" id="{741DAFF9-6688-DE48-9315-63791F6D72E6}"/>
              </a:ext>
            </a:extLst>
          </p:cNvPr>
          <p:cNvSpPr>
            <a:spLocks noGrp="1"/>
          </p:cNvSpPr>
          <p:nvPr>
            <p:ph type="title" hasCustomPrompt="1"/>
          </p:nvPr>
        </p:nvSpPr>
        <p:spPr>
          <a:xfrm>
            <a:off x="359999" y="376238"/>
            <a:ext cx="8425225"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6" name="Table Placeholder 2">
            <a:extLst>
              <a:ext uri="{FF2B5EF4-FFF2-40B4-BE49-F238E27FC236}">
                <a16:creationId xmlns:a16="http://schemas.microsoft.com/office/drawing/2014/main" id="{8B3FF901-7DEB-F945-B11F-2DF2FCC020D8}"/>
              </a:ext>
            </a:extLst>
          </p:cNvPr>
          <p:cNvSpPr>
            <a:spLocks noGrp="1"/>
          </p:cNvSpPr>
          <p:nvPr>
            <p:ph type="tbl" sz="quarter" idx="10"/>
          </p:nvPr>
        </p:nvSpPr>
        <p:spPr>
          <a:xfrm>
            <a:off x="360363" y="1324800"/>
            <a:ext cx="8419034" cy="2882597"/>
          </a:xfrm>
        </p:spPr>
        <p:txBody>
          <a:bodyPr/>
          <a:lstStyle/>
          <a:p>
            <a:endParaRPr lang="en-US" dirty="0"/>
          </a:p>
        </p:txBody>
      </p:sp>
      <p:sp>
        <p:nvSpPr>
          <p:cNvPr id="7" name="Text Placeholder 2">
            <a:extLst>
              <a:ext uri="{FF2B5EF4-FFF2-40B4-BE49-F238E27FC236}">
                <a16:creationId xmlns:a16="http://schemas.microsoft.com/office/drawing/2014/main" id="{A8F2F699-8B20-B047-91EB-E3338E49250B}"/>
              </a:ext>
            </a:extLst>
          </p:cNvPr>
          <p:cNvSpPr>
            <a:spLocks noGrp="1"/>
          </p:cNvSpPr>
          <p:nvPr>
            <p:ph type="body" sz="quarter" idx="13" hasCustomPrompt="1"/>
          </p:nvPr>
        </p:nvSpPr>
        <p:spPr>
          <a:xfrm>
            <a:off x="359999" y="4379379"/>
            <a:ext cx="8419034" cy="387883"/>
          </a:xfrm>
        </p:spPr>
        <p:txBody>
          <a:bodyPr lIns="0" tIns="0" rIns="0" bIns="0"/>
          <a:lstStyle>
            <a:lvl1pPr>
              <a:defRPr sz="1200"/>
            </a:lvl1pPr>
          </a:lstStyle>
          <a:p>
            <a:pPr lvl="0"/>
            <a:r>
              <a:rPr lang="en-US" dirty="0"/>
              <a:t>* Table source</a:t>
            </a:r>
          </a:p>
        </p:txBody>
      </p:sp>
      <p:sp>
        <p:nvSpPr>
          <p:cNvPr id="8" name="Date Placeholder 3">
            <a:extLst>
              <a:ext uri="{FF2B5EF4-FFF2-40B4-BE49-F238E27FC236}">
                <a16:creationId xmlns:a16="http://schemas.microsoft.com/office/drawing/2014/main" id="{473E3290-6716-4A47-9224-703E086035F0}"/>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4455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custom">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Title 1">
            <a:extLst>
              <a:ext uri="{FF2B5EF4-FFF2-40B4-BE49-F238E27FC236}">
                <a16:creationId xmlns:a16="http://schemas.microsoft.com/office/drawing/2014/main" id="{741DAFF9-6688-DE48-9315-63791F6D72E6}"/>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3" name="Table Placeholder 2">
            <a:extLst>
              <a:ext uri="{FF2B5EF4-FFF2-40B4-BE49-F238E27FC236}">
                <a16:creationId xmlns:a16="http://schemas.microsoft.com/office/drawing/2014/main" id="{E3E171DA-8271-634E-80CF-EDAF7D029DE7}"/>
              </a:ext>
            </a:extLst>
          </p:cNvPr>
          <p:cNvSpPr>
            <a:spLocks noGrp="1"/>
          </p:cNvSpPr>
          <p:nvPr>
            <p:ph type="tbl" sz="quarter" idx="10"/>
          </p:nvPr>
        </p:nvSpPr>
        <p:spPr>
          <a:xfrm>
            <a:off x="360363" y="1324800"/>
            <a:ext cx="8419034" cy="2882597"/>
          </a:xfrm>
        </p:spPr>
        <p:txBody>
          <a:bodyPr/>
          <a:lstStyle/>
          <a:p>
            <a:endParaRPr lang="en-US" dirty="0"/>
          </a:p>
        </p:txBody>
      </p:sp>
      <p:sp>
        <p:nvSpPr>
          <p:cNvPr id="7" name="Text Placeholder 2">
            <a:extLst>
              <a:ext uri="{FF2B5EF4-FFF2-40B4-BE49-F238E27FC236}">
                <a16:creationId xmlns:a16="http://schemas.microsoft.com/office/drawing/2014/main" id="{C6D3E7B0-427E-ED4C-8AD7-4400AD488032}"/>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
        <p:nvSpPr>
          <p:cNvPr id="6" name="Date Placeholder 3">
            <a:extLst>
              <a:ext uri="{FF2B5EF4-FFF2-40B4-BE49-F238E27FC236}">
                <a16:creationId xmlns:a16="http://schemas.microsoft.com/office/drawing/2014/main" id="{1BC431DF-7BBC-4ADD-B3D0-B596C995371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86723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x 2">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Title 1">
            <a:extLst>
              <a:ext uri="{FF2B5EF4-FFF2-40B4-BE49-F238E27FC236}">
                <a16:creationId xmlns:a16="http://schemas.microsoft.com/office/drawing/2014/main" id="{741DAFF9-6688-DE48-9315-63791F6D72E6}"/>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3" name="Table Placeholder 2">
            <a:extLst>
              <a:ext uri="{FF2B5EF4-FFF2-40B4-BE49-F238E27FC236}">
                <a16:creationId xmlns:a16="http://schemas.microsoft.com/office/drawing/2014/main" id="{E3E171DA-8271-634E-80CF-EDAF7D029DE7}"/>
              </a:ext>
            </a:extLst>
          </p:cNvPr>
          <p:cNvSpPr>
            <a:spLocks noGrp="1"/>
          </p:cNvSpPr>
          <p:nvPr>
            <p:ph type="tbl" sz="quarter" idx="10"/>
          </p:nvPr>
        </p:nvSpPr>
        <p:spPr>
          <a:xfrm>
            <a:off x="360363" y="1324801"/>
            <a:ext cx="8419034" cy="1246950"/>
          </a:xfrm>
        </p:spPr>
        <p:txBody>
          <a:bodyPr/>
          <a:lstStyle/>
          <a:p>
            <a:endParaRPr lang="en-US"/>
          </a:p>
        </p:txBody>
      </p:sp>
      <p:sp>
        <p:nvSpPr>
          <p:cNvPr id="6" name="Table Placeholder 2">
            <a:extLst>
              <a:ext uri="{FF2B5EF4-FFF2-40B4-BE49-F238E27FC236}">
                <a16:creationId xmlns:a16="http://schemas.microsoft.com/office/drawing/2014/main" id="{7BB1782F-1970-F049-A284-9C16BD17F8F1}"/>
              </a:ext>
            </a:extLst>
          </p:cNvPr>
          <p:cNvSpPr>
            <a:spLocks noGrp="1"/>
          </p:cNvSpPr>
          <p:nvPr>
            <p:ph type="tbl" sz="quarter" idx="11"/>
          </p:nvPr>
        </p:nvSpPr>
        <p:spPr>
          <a:xfrm>
            <a:off x="360363" y="3008917"/>
            <a:ext cx="8419034" cy="1246950"/>
          </a:xfrm>
        </p:spPr>
        <p:txBody>
          <a:bodyPr/>
          <a:lstStyle/>
          <a:p>
            <a:endParaRPr lang="en-US"/>
          </a:p>
        </p:txBody>
      </p:sp>
      <p:sp>
        <p:nvSpPr>
          <p:cNvPr id="8" name="Date Placeholder 3">
            <a:extLst>
              <a:ext uri="{FF2B5EF4-FFF2-40B4-BE49-F238E27FC236}">
                <a16:creationId xmlns:a16="http://schemas.microsoft.com/office/drawing/2014/main" id="{7F82D4D0-1C47-4168-9638-3D1E4BC31FB4}"/>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
        <p:nvSpPr>
          <p:cNvPr id="9" name="Text Placeholder 2">
            <a:extLst>
              <a:ext uri="{FF2B5EF4-FFF2-40B4-BE49-F238E27FC236}">
                <a16:creationId xmlns:a16="http://schemas.microsoft.com/office/drawing/2014/main" id="{47E39E5E-6700-49F6-92C9-92201248DE42}"/>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23238716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2FD68472-FA56-F246-A17A-04C5FA477472}"/>
              </a:ext>
            </a:extLst>
          </p:cNvPr>
          <p:cNvSpPr>
            <a:spLocks noGrp="1"/>
          </p:cNvSpPr>
          <p:nvPr>
            <p:ph type="chart" sz="quarter" idx="10"/>
          </p:nvPr>
        </p:nvSpPr>
        <p:spPr>
          <a:xfrm>
            <a:off x="360000" y="1324800"/>
            <a:ext cx="8419032" cy="2963935"/>
          </a:xfrm>
        </p:spPr>
        <p:txBody>
          <a:bodyPr/>
          <a:lstStyle/>
          <a:p>
            <a:endParaRPr lang="en-US"/>
          </a:p>
        </p:txBody>
      </p:sp>
      <p:sp>
        <p:nvSpPr>
          <p:cNvPr id="5" name="Title 1">
            <a:extLst>
              <a:ext uri="{FF2B5EF4-FFF2-40B4-BE49-F238E27FC236}">
                <a16:creationId xmlns:a16="http://schemas.microsoft.com/office/drawing/2014/main" id="{AFCC0629-7190-44D3-840E-1BD71E6ED02E}"/>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6" name="Text Placeholder 2">
            <a:extLst>
              <a:ext uri="{FF2B5EF4-FFF2-40B4-BE49-F238E27FC236}">
                <a16:creationId xmlns:a16="http://schemas.microsoft.com/office/drawing/2014/main" id="{601ABFDB-55AC-4560-9101-5E5D7D354A78}"/>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28663077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x 2">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2FD68472-FA56-F246-A17A-04C5FA477472}"/>
              </a:ext>
            </a:extLst>
          </p:cNvPr>
          <p:cNvSpPr>
            <a:spLocks noGrp="1"/>
          </p:cNvSpPr>
          <p:nvPr>
            <p:ph type="chart" sz="quarter" idx="10"/>
          </p:nvPr>
        </p:nvSpPr>
        <p:spPr>
          <a:xfrm>
            <a:off x="360000" y="1324800"/>
            <a:ext cx="4090466" cy="2923109"/>
          </a:xfrm>
        </p:spPr>
        <p:txBody>
          <a:bodyPr/>
          <a:lstStyle/>
          <a:p>
            <a:endParaRPr lang="en-US"/>
          </a:p>
        </p:txBody>
      </p:sp>
      <p:sp>
        <p:nvSpPr>
          <p:cNvPr id="5" name="Chart Placeholder 2">
            <a:extLst>
              <a:ext uri="{FF2B5EF4-FFF2-40B4-BE49-F238E27FC236}">
                <a16:creationId xmlns:a16="http://schemas.microsoft.com/office/drawing/2014/main" id="{41D3A567-A095-4E4E-8EDA-DEBBE6DADD39}"/>
              </a:ext>
            </a:extLst>
          </p:cNvPr>
          <p:cNvSpPr>
            <a:spLocks noGrp="1"/>
          </p:cNvSpPr>
          <p:nvPr>
            <p:ph type="chart" sz="quarter" idx="11"/>
          </p:nvPr>
        </p:nvSpPr>
        <p:spPr>
          <a:xfrm>
            <a:off x="4693536" y="1324800"/>
            <a:ext cx="4091649" cy="2923109"/>
          </a:xfrm>
        </p:spPr>
        <p:txBody>
          <a:bodyPr/>
          <a:lstStyle/>
          <a:p>
            <a:endParaRPr lang="en-US"/>
          </a:p>
        </p:txBody>
      </p:sp>
      <p:sp>
        <p:nvSpPr>
          <p:cNvPr id="6" name="Title 1">
            <a:extLst>
              <a:ext uri="{FF2B5EF4-FFF2-40B4-BE49-F238E27FC236}">
                <a16:creationId xmlns:a16="http://schemas.microsoft.com/office/drawing/2014/main" id="{B50345AA-3AC3-47A5-A7FC-FD485DFC4136}"/>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8" name="Text Placeholder 2">
            <a:extLst>
              <a:ext uri="{FF2B5EF4-FFF2-40B4-BE49-F238E27FC236}">
                <a16:creationId xmlns:a16="http://schemas.microsoft.com/office/drawing/2014/main" id="{161951D9-C6F2-4A3B-AC4F-A943B45DD7A8}"/>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5240312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x 3">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2FD68472-FA56-F246-A17A-04C5FA477472}"/>
              </a:ext>
            </a:extLst>
          </p:cNvPr>
          <p:cNvSpPr>
            <a:spLocks noGrp="1"/>
          </p:cNvSpPr>
          <p:nvPr>
            <p:ph type="chart" sz="quarter" idx="10"/>
          </p:nvPr>
        </p:nvSpPr>
        <p:spPr>
          <a:xfrm>
            <a:off x="359999" y="1324800"/>
            <a:ext cx="2520000" cy="2923109"/>
          </a:xfrm>
        </p:spPr>
        <p:txBody>
          <a:bodyPr/>
          <a:lstStyle/>
          <a:p>
            <a:endParaRPr lang="en-US"/>
          </a:p>
        </p:txBody>
      </p:sp>
      <p:sp>
        <p:nvSpPr>
          <p:cNvPr id="11" name="Chart Placeholder 2">
            <a:extLst>
              <a:ext uri="{FF2B5EF4-FFF2-40B4-BE49-F238E27FC236}">
                <a16:creationId xmlns:a16="http://schemas.microsoft.com/office/drawing/2014/main" id="{252188DF-F4D8-6D4B-AC07-BE6058114943}"/>
              </a:ext>
            </a:extLst>
          </p:cNvPr>
          <p:cNvSpPr>
            <a:spLocks noGrp="1"/>
          </p:cNvSpPr>
          <p:nvPr>
            <p:ph type="chart" sz="quarter" idx="16"/>
          </p:nvPr>
        </p:nvSpPr>
        <p:spPr>
          <a:xfrm>
            <a:off x="3314437" y="1324800"/>
            <a:ext cx="2520000" cy="2923109"/>
          </a:xfrm>
        </p:spPr>
        <p:txBody>
          <a:bodyPr/>
          <a:lstStyle/>
          <a:p>
            <a:endParaRPr lang="en-US"/>
          </a:p>
        </p:txBody>
      </p:sp>
      <p:sp>
        <p:nvSpPr>
          <p:cNvPr id="12" name="Chart Placeholder 2">
            <a:extLst>
              <a:ext uri="{FF2B5EF4-FFF2-40B4-BE49-F238E27FC236}">
                <a16:creationId xmlns:a16="http://schemas.microsoft.com/office/drawing/2014/main" id="{0B42F33E-12CF-2F43-89C1-0FC62E427BF2}"/>
              </a:ext>
            </a:extLst>
          </p:cNvPr>
          <p:cNvSpPr>
            <a:spLocks noGrp="1"/>
          </p:cNvSpPr>
          <p:nvPr>
            <p:ph type="chart" sz="quarter" idx="17"/>
          </p:nvPr>
        </p:nvSpPr>
        <p:spPr>
          <a:xfrm>
            <a:off x="6268875" y="1324800"/>
            <a:ext cx="2520000" cy="2923109"/>
          </a:xfrm>
        </p:spPr>
        <p:txBody>
          <a:bodyPr/>
          <a:lstStyle/>
          <a:p>
            <a:endParaRPr lang="en-US"/>
          </a:p>
        </p:txBody>
      </p:sp>
      <p:sp>
        <p:nvSpPr>
          <p:cNvPr id="8" name="Title 1">
            <a:extLst>
              <a:ext uri="{FF2B5EF4-FFF2-40B4-BE49-F238E27FC236}">
                <a16:creationId xmlns:a16="http://schemas.microsoft.com/office/drawing/2014/main" id="{C2EEDE25-39BD-465D-BD60-E9F89A8C8DD6}"/>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9" name="Text Placeholder 2">
            <a:extLst>
              <a:ext uri="{FF2B5EF4-FFF2-40B4-BE49-F238E27FC236}">
                <a16:creationId xmlns:a16="http://schemas.microsoft.com/office/drawing/2014/main" id="{7FD6ADED-903F-4C9E-9703-5F98976D1E24}"/>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30607347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 box x 3">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ECFC4D79-641E-F64D-AC36-FDB08804DF7A}"/>
              </a:ext>
            </a:extLst>
          </p:cNvPr>
          <p:cNvSpPr>
            <a:spLocks noGrp="1"/>
          </p:cNvSpPr>
          <p:nvPr>
            <p:ph type="body" sz="quarter" idx="18" hasCustomPrompt="1"/>
          </p:nvPr>
        </p:nvSpPr>
        <p:spPr>
          <a:xfrm>
            <a:off x="360363" y="1325563"/>
            <a:ext cx="2519362" cy="2922587"/>
          </a:xfrm>
        </p:spPr>
        <p:txBody>
          <a:bodyPr/>
          <a:lstStyle/>
          <a:p>
            <a:pPr lvl="0"/>
            <a:r>
              <a:rPr lang="en-US" dirty="0"/>
              <a:t>Insert text</a:t>
            </a:r>
          </a:p>
        </p:txBody>
      </p:sp>
      <p:sp>
        <p:nvSpPr>
          <p:cNvPr id="13" name="Text Placeholder 3">
            <a:extLst>
              <a:ext uri="{FF2B5EF4-FFF2-40B4-BE49-F238E27FC236}">
                <a16:creationId xmlns:a16="http://schemas.microsoft.com/office/drawing/2014/main" id="{FB9AEB26-08AF-984B-A6AC-B736133991D5}"/>
              </a:ext>
            </a:extLst>
          </p:cNvPr>
          <p:cNvSpPr>
            <a:spLocks noGrp="1"/>
          </p:cNvSpPr>
          <p:nvPr>
            <p:ph type="body" sz="quarter" idx="19" hasCustomPrompt="1"/>
          </p:nvPr>
        </p:nvSpPr>
        <p:spPr>
          <a:xfrm>
            <a:off x="3381858" y="1325563"/>
            <a:ext cx="2519362" cy="2922587"/>
          </a:xfrm>
        </p:spPr>
        <p:txBody>
          <a:bodyPr/>
          <a:lstStyle/>
          <a:p>
            <a:pPr lvl="0"/>
            <a:r>
              <a:rPr lang="en-US" dirty="0"/>
              <a:t>Insert text</a:t>
            </a:r>
          </a:p>
        </p:txBody>
      </p:sp>
      <p:sp>
        <p:nvSpPr>
          <p:cNvPr id="14" name="Text Placeholder 3">
            <a:extLst>
              <a:ext uri="{FF2B5EF4-FFF2-40B4-BE49-F238E27FC236}">
                <a16:creationId xmlns:a16="http://schemas.microsoft.com/office/drawing/2014/main" id="{FEE4F240-A80C-9F42-874E-A46C462A1F9D}"/>
              </a:ext>
            </a:extLst>
          </p:cNvPr>
          <p:cNvSpPr>
            <a:spLocks noGrp="1"/>
          </p:cNvSpPr>
          <p:nvPr>
            <p:ph type="body" sz="quarter" idx="20" hasCustomPrompt="1"/>
          </p:nvPr>
        </p:nvSpPr>
        <p:spPr>
          <a:xfrm>
            <a:off x="6259237" y="1325563"/>
            <a:ext cx="2519362" cy="2922587"/>
          </a:xfrm>
        </p:spPr>
        <p:txBody>
          <a:bodyPr/>
          <a:lstStyle/>
          <a:p>
            <a:pPr lvl="0"/>
            <a:r>
              <a:rPr lang="en-US" dirty="0"/>
              <a:t>Insert text</a:t>
            </a:r>
          </a:p>
        </p:txBody>
      </p:sp>
      <p:sp>
        <p:nvSpPr>
          <p:cNvPr id="8" name="Title 1">
            <a:extLst>
              <a:ext uri="{FF2B5EF4-FFF2-40B4-BE49-F238E27FC236}">
                <a16:creationId xmlns:a16="http://schemas.microsoft.com/office/drawing/2014/main" id="{1D6CD0C4-087F-4F10-9329-BFAF78B85986}"/>
              </a:ext>
            </a:extLst>
          </p:cNvPr>
          <p:cNvSpPr>
            <a:spLocks noGrp="1"/>
          </p:cNvSpPr>
          <p:nvPr>
            <p:ph type="title" hasCustomPrompt="1"/>
          </p:nvPr>
        </p:nvSpPr>
        <p:spPr>
          <a:xfrm>
            <a:off x="358775" y="380150"/>
            <a:ext cx="8419033" cy="414834"/>
          </a:xfrm>
        </p:spPr>
        <p:txBody>
          <a:bodyPr lIns="0" tIns="0" rIns="0" bIns="0" anchor="t" anchorCtr="0"/>
          <a:lstStyle>
            <a:lvl1pPr>
              <a:defRPr>
                <a:solidFill>
                  <a:srgbClr val="E64626"/>
                </a:solidFill>
              </a:defRPr>
            </a:lvl1pPr>
          </a:lstStyle>
          <a:p>
            <a:pPr marL="0" indent="0" fontAlgn="auto">
              <a:spcAft>
                <a:spcPts val="600"/>
              </a:spcAft>
              <a:buNone/>
              <a:defRPr/>
            </a:pPr>
            <a:r>
              <a:rPr lang="en-US" dirty="0">
                <a:solidFill>
                  <a:schemeClr val="accent1"/>
                </a:solidFill>
              </a:rPr>
              <a:t>Heading</a:t>
            </a:r>
            <a:endParaRPr lang="en-AU" dirty="0">
              <a:solidFill>
                <a:schemeClr val="accent1"/>
              </a:solidFill>
            </a:endParaRPr>
          </a:p>
        </p:txBody>
      </p:sp>
      <p:sp>
        <p:nvSpPr>
          <p:cNvPr id="9" name="Text Placeholder 2">
            <a:extLst>
              <a:ext uri="{FF2B5EF4-FFF2-40B4-BE49-F238E27FC236}">
                <a16:creationId xmlns:a16="http://schemas.microsoft.com/office/drawing/2014/main" id="{7AC0B9E9-F72C-47D6-8A5F-75D5E529FACB}"/>
              </a:ext>
            </a:extLst>
          </p:cNvPr>
          <p:cNvSpPr>
            <a:spLocks noGrp="1"/>
          </p:cNvSpPr>
          <p:nvPr>
            <p:ph type="body" sz="quarter" idx="13" hasCustomPrompt="1"/>
          </p:nvPr>
        </p:nvSpPr>
        <p:spPr>
          <a:xfrm>
            <a:off x="359999" y="4379379"/>
            <a:ext cx="8425226" cy="387884"/>
          </a:xfrm>
        </p:spPr>
        <p:txBody>
          <a:bodyPr lIns="0" tIns="0" rIns="0" bIns="0"/>
          <a:lstStyle>
            <a:lvl1pPr>
              <a:defRPr sz="1000" b="0"/>
            </a:lvl1pPr>
          </a:lstStyle>
          <a:p>
            <a:pPr lvl="0"/>
            <a:r>
              <a:rPr lang="en-US" dirty="0"/>
              <a:t>* Insert source</a:t>
            </a:r>
          </a:p>
        </p:txBody>
      </p:sp>
    </p:spTree>
    <p:extLst>
      <p:ext uri="{BB962C8B-B14F-4D97-AF65-F5344CB8AC3E}">
        <p14:creationId xmlns:p14="http://schemas.microsoft.com/office/powerpoint/2010/main" val="268541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 to Countr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94C734-8EA7-6747-9D5E-0095CB042E67}"/>
              </a:ext>
            </a:extLst>
          </p:cNvPr>
          <p:cNvSpPr/>
          <p:nvPr userDrawn="1"/>
        </p:nvSpPr>
        <p:spPr>
          <a:xfrm>
            <a:off x="1" y="0"/>
            <a:ext cx="9143999"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47768" y="3881927"/>
            <a:ext cx="1848464" cy="639366"/>
          </a:xfrm>
          <a:prstGeom prst="rect">
            <a:avLst/>
          </a:prstGeom>
        </p:spPr>
      </p:pic>
      <p:sp>
        <p:nvSpPr>
          <p:cNvPr id="2" name="Rectangle 1">
            <a:extLst>
              <a:ext uri="{FF2B5EF4-FFF2-40B4-BE49-F238E27FC236}">
                <a16:creationId xmlns:a16="http://schemas.microsoft.com/office/drawing/2014/main" id="{0C3010EE-5F8C-A141-9442-3FCFF7B6179C}"/>
              </a:ext>
            </a:extLst>
          </p:cNvPr>
          <p:cNvSpPr/>
          <p:nvPr userDrawn="1"/>
        </p:nvSpPr>
        <p:spPr>
          <a:xfrm>
            <a:off x="1946107" y="1503769"/>
            <a:ext cx="5408195" cy="1200329"/>
          </a:xfrm>
          <a:prstGeom prst="rect">
            <a:avLst/>
          </a:prstGeom>
        </p:spPr>
        <p:txBody>
          <a:bodyPr wrap="square">
            <a:spAutoFit/>
          </a:bodyPr>
          <a:lstStyle/>
          <a:p>
            <a:pPr algn="ctr"/>
            <a:r>
              <a:rPr lang="en-AU" b="0" i="0" dirty="0">
                <a:solidFill>
                  <a:schemeClr val="bg1"/>
                </a:solidFill>
                <a:effectLst/>
                <a:latin typeface="Tw Cen MT" panose="020B0602020104020603" pitchFamily="34" charset="0"/>
              </a:rPr>
              <a:t>We acknowledge the tradition of custodianship and law of the Country on which the University of Sydney campuses stand. We pay our respects to those who have cared and continue to care for Country.</a:t>
            </a:r>
          </a:p>
        </p:txBody>
      </p:sp>
    </p:spTree>
    <p:extLst>
      <p:ext uri="{BB962C8B-B14F-4D97-AF65-F5344CB8AC3E}">
        <p14:creationId xmlns:p14="http://schemas.microsoft.com/office/powerpoint/2010/main" val="785238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 list and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29EE716-4F2B-CB45-ACF7-1F1C7B3BC4F6}"/>
              </a:ext>
            </a:extLst>
          </p:cNvPr>
          <p:cNvSpPr>
            <a:spLocks noGrp="1"/>
          </p:cNvSpPr>
          <p:nvPr>
            <p:ph type="title" hasCustomPrompt="1"/>
          </p:nvPr>
        </p:nvSpPr>
        <p:spPr>
          <a:xfrm>
            <a:off x="360001" y="384546"/>
            <a:ext cx="5563527" cy="506526"/>
          </a:xfrm>
        </p:spPr>
        <p:txBody>
          <a:bodyPr lIns="0" tIns="0" rIns="0" bIns="0" anchor="t" anchorCtr="0"/>
          <a:lstStyle>
            <a:lvl1pPr>
              <a:defRPr>
                <a:solidFill>
                  <a:srgbClr val="E64626"/>
                </a:solidFill>
              </a:defRPr>
            </a:lvl1pPr>
          </a:lstStyle>
          <a:p>
            <a:r>
              <a:rPr lang="en-AU" dirty="0"/>
              <a:t>Heading</a:t>
            </a:r>
          </a:p>
        </p:txBody>
      </p:sp>
      <p:sp>
        <p:nvSpPr>
          <p:cNvPr id="9" name="Content Placeholder 2">
            <a:extLst>
              <a:ext uri="{FF2B5EF4-FFF2-40B4-BE49-F238E27FC236}">
                <a16:creationId xmlns:a16="http://schemas.microsoft.com/office/drawing/2014/main" id="{8FB7D421-B99C-8C46-98BE-26ADADA6FCB1}"/>
              </a:ext>
            </a:extLst>
          </p:cNvPr>
          <p:cNvSpPr>
            <a:spLocks noGrp="1"/>
          </p:cNvSpPr>
          <p:nvPr>
            <p:ph idx="1" hasCustomPrompt="1"/>
          </p:nvPr>
        </p:nvSpPr>
        <p:spPr>
          <a:xfrm>
            <a:off x="360000" y="2617776"/>
            <a:ext cx="5596371" cy="1737360"/>
          </a:xfrm>
        </p:spPr>
        <p:txBody>
          <a:bodyPr lIns="0" tIns="0" rIns="0" bIns="0" numCol="2" spcCol="144000"/>
          <a:lstStyle>
            <a:lvl1pPr marL="342900" marR="0" indent="-342900" algn="l" defTabSz="457200" rtl="0" eaLnBrk="1" fontAlgn="base" latinLnBrk="0" hangingPunct="1">
              <a:lnSpc>
                <a:spcPts val="1640"/>
              </a:lnSpc>
              <a:spcBef>
                <a:spcPts val="600"/>
              </a:spcBef>
              <a:spcAft>
                <a:spcPct val="0"/>
              </a:spcAft>
              <a:buClr>
                <a:schemeClr val="accent1"/>
              </a:buClr>
              <a:buSzTx/>
              <a:buFont typeface="Lucida Grande" charset="0"/>
              <a:buChar char="–"/>
              <a:tabLst/>
              <a:defRPr/>
            </a:lvl1pPr>
          </a:lstStyle>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marL="342900" marR="0" lvl="0" indent="-342900" algn="l" defTabSz="457200" rtl="0" eaLnBrk="1" fontAlgn="base" latinLnBrk="0" hangingPunct="1">
              <a:lnSpc>
                <a:spcPts val="1640"/>
              </a:lnSpc>
              <a:spcBef>
                <a:spcPts val="600"/>
              </a:spcBef>
              <a:spcAft>
                <a:spcPct val="0"/>
              </a:spcAft>
              <a:buClr>
                <a:schemeClr val="accent1"/>
              </a:buClr>
              <a:buSzTx/>
              <a:buFont typeface="Lucida Grande" charset="0"/>
              <a:buChar char="–"/>
              <a:tabLst/>
              <a:defRP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 </a:t>
            </a:r>
          </a:p>
          <a:p>
            <a:pPr>
              <a:lnSpc>
                <a:spcPts val="1640"/>
              </a:lnSpc>
              <a:spcBef>
                <a:spcPts val="600"/>
              </a:spcBef>
              <a:buClr>
                <a:schemeClr val="accent1"/>
              </a:buClr>
            </a:pPr>
            <a:r>
              <a:rPr lang="en-US" sz="1200" dirty="0">
                <a:solidFill>
                  <a:srgbClr val="343433"/>
                </a:solidFill>
              </a:rPr>
              <a:t>Bullet point</a:t>
            </a:r>
          </a:p>
        </p:txBody>
      </p:sp>
      <p:sp>
        <p:nvSpPr>
          <p:cNvPr id="16" name="Picture Placeholder 5">
            <a:extLst>
              <a:ext uri="{FF2B5EF4-FFF2-40B4-BE49-F238E27FC236}">
                <a16:creationId xmlns:a16="http://schemas.microsoft.com/office/drawing/2014/main" id="{320BF59E-0577-E142-AC15-8C92DB4DA1DE}"/>
              </a:ext>
            </a:extLst>
          </p:cNvPr>
          <p:cNvSpPr>
            <a:spLocks noGrp="1"/>
          </p:cNvSpPr>
          <p:nvPr>
            <p:ph type="pic" sz="quarter" idx="10"/>
          </p:nvPr>
        </p:nvSpPr>
        <p:spPr>
          <a:xfrm>
            <a:off x="6461125" y="384545"/>
            <a:ext cx="2682875" cy="4382717"/>
          </a:xfrm>
        </p:spPr>
        <p:txBody>
          <a:bodyPr/>
          <a:lstStyle/>
          <a:p>
            <a:endParaRPr lang="en-US"/>
          </a:p>
        </p:txBody>
      </p:sp>
      <p:sp>
        <p:nvSpPr>
          <p:cNvPr id="17" name="Text Placeholder 3">
            <a:extLst>
              <a:ext uri="{FF2B5EF4-FFF2-40B4-BE49-F238E27FC236}">
                <a16:creationId xmlns:a16="http://schemas.microsoft.com/office/drawing/2014/main" id="{D5FB582D-82F9-8746-92DB-7D8557E011BA}"/>
              </a:ext>
            </a:extLst>
          </p:cNvPr>
          <p:cNvSpPr>
            <a:spLocks noGrp="1"/>
          </p:cNvSpPr>
          <p:nvPr>
            <p:ph type="body" sz="quarter" idx="11" hasCustomPrompt="1"/>
          </p:nvPr>
        </p:nvSpPr>
        <p:spPr>
          <a:xfrm>
            <a:off x="360000" y="1342801"/>
            <a:ext cx="5563528" cy="753628"/>
          </a:xfrm>
        </p:spPr>
        <p:txBody>
          <a:bodyPr lIns="0" tIns="0" rIns="0" bIns="0"/>
          <a:lstStyle>
            <a:lvl1pPr marL="0" indent="0">
              <a:buNone/>
              <a:defRPr>
                <a:solidFill>
                  <a:srgbClr val="343433"/>
                </a:solidFill>
              </a:defRPr>
            </a:lvl1pPr>
          </a:lstStyle>
          <a:p>
            <a:pPr lvl="0"/>
            <a:r>
              <a:rPr lang="en-US" dirty="0"/>
              <a:t>Intro copy</a:t>
            </a:r>
          </a:p>
        </p:txBody>
      </p:sp>
    </p:spTree>
    <p:extLst>
      <p:ext uri="{BB962C8B-B14F-4D97-AF65-F5344CB8AC3E}">
        <p14:creationId xmlns:p14="http://schemas.microsoft.com/office/powerpoint/2010/main" val="15518982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images with captio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4B522BF-7C15-4C47-B4C5-801E311A2127}"/>
              </a:ext>
            </a:extLst>
          </p:cNvPr>
          <p:cNvSpPr>
            <a:spLocks noGrp="1"/>
          </p:cNvSpPr>
          <p:nvPr>
            <p:ph type="title" hasCustomPrompt="1"/>
          </p:nvPr>
        </p:nvSpPr>
        <p:spPr>
          <a:xfrm>
            <a:off x="358775" y="388942"/>
            <a:ext cx="8426450" cy="518846"/>
          </a:xfrm>
        </p:spPr>
        <p:txBody>
          <a:bodyPr lIns="0" tIns="0" rIns="0" bIns="0" anchor="t"/>
          <a:lstStyle/>
          <a:p>
            <a:pPr marL="0" indent="0" fontAlgn="auto">
              <a:spcAft>
                <a:spcPts val="600"/>
              </a:spcAft>
              <a:buNone/>
              <a:defRPr/>
            </a:pPr>
            <a:r>
              <a:rPr lang="en-US" dirty="0"/>
              <a:t>Heading</a:t>
            </a:r>
            <a:endParaRPr lang="en-AU" dirty="0">
              <a:solidFill>
                <a:srgbClr val="FF0000"/>
              </a:solidFill>
            </a:endParaRPr>
          </a:p>
        </p:txBody>
      </p:sp>
      <p:sp>
        <p:nvSpPr>
          <p:cNvPr id="13" name="Picture Placeholder 10">
            <a:extLst>
              <a:ext uri="{FF2B5EF4-FFF2-40B4-BE49-F238E27FC236}">
                <a16:creationId xmlns:a16="http://schemas.microsoft.com/office/drawing/2014/main" id="{A74C51C2-92E2-384C-B2EA-8187DC7E9CED}"/>
              </a:ext>
            </a:extLst>
          </p:cNvPr>
          <p:cNvSpPr>
            <a:spLocks noGrp="1"/>
          </p:cNvSpPr>
          <p:nvPr>
            <p:ph type="pic" sz="quarter" idx="10"/>
          </p:nvPr>
        </p:nvSpPr>
        <p:spPr>
          <a:xfrm>
            <a:off x="4681538" y="1987550"/>
            <a:ext cx="3411537" cy="1901825"/>
          </a:xfrm>
        </p:spPr>
        <p:txBody>
          <a:bodyPr/>
          <a:lstStyle/>
          <a:p>
            <a:endParaRPr lang="en-US"/>
          </a:p>
        </p:txBody>
      </p:sp>
      <p:sp>
        <p:nvSpPr>
          <p:cNvPr id="14" name="Picture Placeholder 10">
            <a:extLst>
              <a:ext uri="{FF2B5EF4-FFF2-40B4-BE49-F238E27FC236}">
                <a16:creationId xmlns:a16="http://schemas.microsoft.com/office/drawing/2014/main" id="{5E3ED63D-82E7-F048-A24E-5EFF85404615}"/>
              </a:ext>
            </a:extLst>
          </p:cNvPr>
          <p:cNvSpPr>
            <a:spLocks noGrp="1"/>
          </p:cNvSpPr>
          <p:nvPr>
            <p:ph type="pic" sz="quarter" idx="11"/>
          </p:nvPr>
        </p:nvSpPr>
        <p:spPr>
          <a:xfrm>
            <a:off x="872282" y="1987550"/>
            <a:ext cx="3411537" cy="1901825"/>
          </a:xfrm>
        </p:spPr>
        <p:txBody>
          <a:bodyPr/>
          <a:lstStyle/>
          <a:p>
            <a:endParaRPr lang="en-US" dirty="0"/>
          </a:p>
        </p:txBody>
      </p:sp>
      <p:sp>
        <p:nvSpPr>
          <p:cNvPr id="25" name="Text Placeholder 3">
            <a:extLst>
              <a:ext uri="{FF2B5EF4-FFF2-40B4-BE49-F238E27FC236}">
                <a16:creationId xmlns:a16="http://schemas.microsoft.com/office/drawing/2014/main" id="{8F4C4831-32CD-1C43-8C2F-DCC29436FA69}"/>
              </a:ext>
            </a:extLst>
          </p:cNvPr>
          <p:cNvSpPr>
            <a:spLocks noGrp="1"/>
          </p:cNvSpPr>
          <p:nvPr>
            <p:ph type="body" sz="quarter" idx="12" hasCustomPrompt="1"/>
          </p:nvPr>
        </p:nvSpPr>
        <p:spPr>
          <a:xfrm>
            <a:off x="358774" y="1014347"/>
            <a:ext cx="8426449" cy="555625"/>
          </a:xfrm>
        </p:spPr>
        <p:txBody>
          <a:bodyPr lIns="0" tIns="0" rIns="0" bIns="0"/>
          <a:lstStyle>
            <a:lvl1pPr marL="0" indent="0">
              <a:buNone/>
              <a:defRPr>
                <a:solidFill>
                  <a:srgbClr val="343433"/>
                </a:solidFill>
              </a:defRPr>
            </a:lvl1pPr>
          </a:lstStyle>
          <a:p>
            <a:pPr lvl="0"/>
            <a:r>
              <a:rPr lang="en-US" dirty="0"/>
              <a:t>Intro copy here</a:t>
            </a:r>
          </a:p>
        </p:txBody>
      </p:sp>
      <p:sp>
        <p:nvSpPr>
          <p:cNvPr id="3" name="Text Placeholder 2">
            <a:extLst>
              <a:ext uri="{FF2B5EF4-FFF2-40B4-BE49-F238E27FC236}">
                <a16:creationId xmlns:a16="http://schemas.microsoft.com/office/drawing/2014/main" id="{7BD98C5F-18C6-6644-AA47-81AF0422EF6E}"/>
              </a:ext>
            </a:extLst>
          </p:cNvPr>
          <p:cNvSpPr>
            <a:spLocks noGrp="1"/>
          </p:cNvSpPr>
          <p:nvPr>
            <p:ph type="body" sz="quarter" idx="13" hasCustomPrompt="1"/>
          </p:nvPr>
        </p:nvSpPr>
        <p:spPr>
          <a:xfrm>
            <a:off x="872282" y="4054889"/>
            <a:ext cx="3411509" cy="592138"/>
          </a:xfrm>
        </p:spPr>
        <p:txBody>
          <a:bodyPr lIns="0" tIns="0" rIns="0" bIns="0"/>
          <a:lstStyle>
            <a:lvl1pPr>
              <a:defRPr sz="1200"/>
            </a:lvl1pPr>
          </a:lstStyle>
          <a:p>
            <a:pPr lvl="0"/>
            <a:r>
              <a:rPr lang="en-US" dirty="0"/>
              <a:t>Caption</a:t>
            </a:r>
          </a:p>
        </p:txBody>
      </p:sp>
      <p:sp>
        <p:nvSpPr>
          <p:cNvPr id="10" name="Text Placeholder 2">
            <a:extLst>
              <a:ext uri="{FF2B5EF4-FFF2-40B4-BE49-F238E27FC236}">
                <a16:creationId xmlns:a16="http://schemas.microsoft.com/office/drawing/2014/main" id="{72598C76-8B4C-334A-BE7B-2C6BF096C107}"/>
              </a:ext>
            </a:extLst>
          </p:cNvPr>
          <p:cNvSpPr>
            <a:spLocks noGrp="1"/>
          </p:cNvSpPr>
          <p:nvPr>
            <p:ph type="body" sz="quarter" idx="14" hasCustomPrompt="1"/>
          </p:nvPr>
        </p:nvSpPr>
        <p:spPr>
          <a:xfrm>
            <a:off x="4669029" y="4054889"/>
            <a:ext cx="3411509" cy="592138"/>
          </a:xfrm>
        </p:spPr>
        <p:txBody>
          <a:bodyPr lIns="0" tIns="0" rIns="0" bIns="0"/>
          <a:lstStyle>
            <a:lvl1pPr>
              <a:defRPr sz="1200"/>
            </a:lvl1pPr>
          </a:lstStyle>
          <a:p>
            <a:pPr lvl="0"/>
            <a:r>
              <a:rPr lang="en-US" dirty="0"/>
              <a:t>Caption</a:t>
            </a:r>
          </a:p>
        </p:txBody>
      </p:sp>
    </p:spTree>
    <p:extLst>
      <p:ext uri="{BB962C8B-B14F-4D97-AF65-F5344CB8AC3E}">
        <p14:creationId xmlns:p14="http://schemas.microsoft.com/office/powerpoint/2010/main" val="1180691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able/chart/image 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64626"/>
                </a:solidFill>
              </a:defRPr>
            </a:lvl1pPr>
          </a:lstStyle>
          <a:p>
            <a:r>
              <a:rPr lang="en-US" dirty="0"/>
              <a:t>Click to edit Master title style</a:t>
            </a:r>
          </a:p>
        </p:txBody>
      </p:sp>
      <p:sp>
        <p:nvSpPr>
          <p:cNvPr id="3" name="Content Placeholder 2"/>
          <p:cNvSpPr>
            <a:spLocks noGrp="1"/>
          </p:cNvSpPr>
          <p:nvPr>
            <p:ph sz="half" idx="1"/>
          </p:nvPr>
        </p:nvSpPr>
        <p:spPr>
          <a:xfrm>
            <a:off x="358775" y="1019944"/>
            <a:ext cx="4038600" cy="339447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746627" y="1019944"/>
            <a:ext cx="4038600" cy="339447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26643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8" name="Picture 7" descr="USY_MB1_PMS_1_Colour_Reversed_Logo.png"/>
          <p:cNvPicPr>
            <a:picLocks noChangeAspect="1"/>
          </p:cNvPicPr>
          <p:nvPr/>
        </p:nvPicPr>
        <p:blipFill>
          <a:blip>
            <a:extLst>
              <a:ext uri="{28A0092B-C50C-407E-A947-70E740481C1C}">
                <a14:useLocalDpi xmlns:a14="http://schemas.microsoft.com/office/drawing/2010/main"/>
              </a:ext>
            </a:extLst>
          </a:blip>
          <a:srcRect/>
          <a:stretch>
            <a:fillRect/>
          </a:stretch>
        </p:blipFill>
        <p:spPr bwMode="auto">
          <a:xfrm>
            <a:off x="454025" y="4429125"/>
            <a:ext cx="1536700" cy="398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8"/>
          <p:cNvSpPr>
            <a:spLocks noGrp="1"/>
          </p:cNvSpPr>
          <p:nvPr>
            <p:ph type="title"/>
          </p:nvPr>
        </p:nvSpPr>
        <p:spPr>
          <a:xfrm>
            <a:off x="358775" y="376238"/>
            <a:ext cx="8388586" cy="396568"/>
          </a:xfrm>
        </p:spPr>
        <p:txBody>
          <a:bodyPr tIns="0" anchor="t"/>
          <a:lstStyle>
            <a:lvl1pPr>
              <a:defRPr baseline="0">
                <a:solidFill>
                  <a:srgbClr val="E64626"/>
                </a:solidFill>
              </a:defRPr>
            </a:lvl1pPr>
          </a:lstStyle>
          <a:p>
            <a:r>
              <a:rPr lang="en-US" dirty="0"/>
              <a:t>Click to edit Master title style</a:t>
            </a:r>
          </a:p>
        </p:txBody>
      </p:sp>
      <p:sp>
        <p:nvSpPr>
          <p:cNvPr id="7" name="Picture Placeholder 13"/>
          <p:cNvSpPr>
            <a:spLocks noGrp="1"/>
          </p:cNvSpPr>
          <p:nvPr>
            <p:ph type="pic" sz="quarter" idx="12"/>
          </p:nvPr>
        </p:nvSpPr>
        <p:spPr>
          <a:xfrm>
            <a:off x="359999" y="1350000"/>
            <a:ext cx="8425225" cy="3417263"/>
          </a:xfrm>
          <a:solidFill>
            <a:schemeClr val="accent4"/>
          </a:solidFill>
        </p:spPr>
        <p:txBody>
          <a:bodyPr rtlCol="0" anchor="ctr">
            <a:normAutofit/>
          </a:bodyPr>
          <a:lstStyle>
            <a:lvl1pPr marL="0" indent="0" algn="ctr">
              <a:buNone/>
              <a:defRPr/>
            </a:lvl1pPr>
          </a:lstStyle>
          <a:p>
            <a:pPr lvl="0"/>
            <a:r>
              <a:rPr lang="en-US" noProof="0"/>
              <a:t>Click icon to add picture</a:t>
            </a:r>
            <a:endParaRPr lang="en-US" noProof="0" dirty="0"/>
          </a:p>
        </p:txBody>
      </p:sp>
      <p:sp>
        <p:nvSpPr>
          <p:cNvPr id="10" name="Text Placeholder 3">
            <a:extLst>
              <a:ext uri="{FF2B5EF4-FFF2-40B4-BE49-F238E27FC236}">
                <a16:creationId xmlns:a16="http://schemas.microsoft.com/office/drawing/2014/main" id="{738F5981-0C41-7E41-8A74-498498074DED}"/>
              </a:ext>
            </a:extLst>
          </p:cNvPr>
          <p:cNvSpPr>
            <a:spLocks noGrp="1"/>
          </p:cNvSpPr>
          <p:nvPr>
            <p:ph type="body" sz="quarter" idx="10"/>
          </p:nvPr>
        </p:nvSpPr>
        <p:spPr>
          <a:xfrm>
            <a:off x="360000" y="993600"/>
            <a:ext cx="8424000" cy="555625"/>
          </a:xfrm>
        </p:spPr>
        <p:txBody>
          <a:bodyPr lIns="0" tIns="0" rIns="0" bIns="0"/>
          <a:lstStyle>
            <a:lvl1pPr marL="0" indent="0">
              <a:buNone/>
              <a:defRPr>
                <a:solidFill>
                  <a:srgbClr val="343433"/>
                </a:solidFill>
              </a:defRPr>
            </a:lvl1pPr>
          </a:lstStyle>
          <a:p>
            <a:pPr lvl="0"/>
            <a:r>
              <a:rPr lang="en-US" dirty="0"/>
              <a:t>Click to edit Master text styles</a:t>
            </a:r>
          </a:p>
        </p:txBody>
      </p:sp>
    </p:spTree>
    <p:extLst>
      <p:ext uri="{BB962C8B-B14F-4D97-AF65-F5344CB8AC3E}">
        <p14:creationId xmlns:p14="http://schemas.microsoft.com/office/powerpoint/2010/main" val="25916228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on 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05B95C-57D9-5D4F-B0D4-E8F0ED0B5FDF}"/>
              </a:ext>
            </a:extLst>
          </p:cNvPr>
          <p:cNvSpPr>
            <a:spLocks noGrp="1"/>
          </p:cNvSpPr>
          <p:nvPr>
            <p:ph idx="1" hasCustomPrompt="1"/>
          </p:nvPr>
        </p:nvSpPr>
        <p:spPr bwMode="auto">
          <a:xfrm>
            <a:off x="358775" y="376238"/>
            <a:ext cx="8426450" cy="439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a:defRPr/>
            </a:lvl1pPr>
          </a:lstStyle>
          <a:p>
            <a:pPr lvl="0"/>
            <a:r>
              <a:rPr lang="en-AU" dirty="0"/>
              <a:t>“Insert quote here”</a:t>
            </a:r>
          </a:p>
        </p:txBody>
      </p:sp>
    </p:spTree>
    <p:extLst>
      <p:ext uri="{BB962C8B-B14F-4D97-AF65-F5344CB8AC3E}">
        <p14:creationId xmlns:p14="http://schemas.microsoft.com/office/powerpoint/2010/main" val="41886643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on Charco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076C99-C2D0-7E41-9AA7-E83E178EC3EC}"/>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505B95C-57D9-5D4F-B0D4-E8F0ED0B5FDF}"/>
              </a:ext>
            </a:extLst>
          </p:cNvPr>
          <p:cNvSpPr>
            <a:spLocks noGrp="1"/>
          </p:cNvSpPr>
          <p:nvPr>
            <p:ph idx="1" hasCustomPrompt="1"/>
          </p:nvPr>
        </p:nvSpPr>
        <p:spPr bwMode="auto">
          <a:xfrm>
            <a:off x="358775" y="376238"/>
            <a:ext cx="8426450" cy="439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a:defRPr>
                <a:solidFill>
                  <a:schemeClr val="bg1"/>
                </a:solidFill>
              </a:defRPr>
            </a:lvl1pPr>
          </a:lstStyle>
          <a:p>
            <a:pPr lvl="0"/>
            <a:r>
              <a:rPr lang="en-AU" dirty="0"/>
              <a:t>“Insert quote here”</a:t>
            </a:r>
          </a:p>
        </p:txBody>
      </p:sp>
      <p:sp>
        <p:nvSpPr>
          <p:cNvPr id="5" name="Date Placeholder 3">
            <a:extLst>
              <a:ext uri="{FF2B5EF4-FFF2-40B4-BE49-F238E27FC236}">
                <a16:creationId xmlns:a16="http://schemas.microsoft.com/office/drawing/2014/main" id="{A37C4B54-9F50-44CC-81DF-E2B3B12189A2}"/>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solidFill>
                  <a:schemeClr val="bg1"/>
                </a:solidFill>
                <a:latin typeface="Arial" panose="020B0604020202020204" pitchFamily="34" charset="0"/>
                <a:cs typeface="Arial" panose="020B0604020202020204" pitchFamily="34" charset="0"/>
              </a:rPr>
              <a:t>The </a:t>
            </a:r>
            <a:r>
              <a:rPr lang="en-AU" dirty="0">
                <a:solidFill>
                  <a:schemeClr val="bg1"/>
                </a:solidFill>
                <a:latin typeface="Arial" panose="020B0604020202020204" pitchFamily="34" charset="0"/>
                <a:cs typeface="Arial" panose="020B0604020202020204" pitchFamily="34" charset="0"/>
              </a:rPr>
              <a:t>University of Sydney</a:t>
            </a:r>
            <a:endParaRPr dirty="0">
              <a:solidFill>
                <a:schemeClr val="bg1"/>
              </a:solidFill>
              <a:latin typeface="Arial" panose="020B0604020202020204" pitchFamily="34" charset="0"/>
              <a:cs typeface="Arial" panose="020B0604020202020204" pitchFamily="34" charset="0"/>
            </a:endParaRPr>
          </a:p>
        </p:txBody>
      </p:sp>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9"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335157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tile page ochre - centred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031483D-DA28-2442-A81B-F28DE6B1B7D8}"/>
              </a:ext>
            </a:extLst>
          </p:cNvPr>
          <p:cNvSpPr/>
          <p:nvPr userDrawn="1"/>
        </p:nvSpPr>
        <p:spPr>
          <a:xfrm>
            <a:off x="0" y="0"/>
            <a:ext cx="9143999"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0858" y="3905489"/>
            <a:ext cx="1848464" cy="639366"/>
          </a:xfrm>
          <a:prstGeom prst="rect">
            <a:avLst/>
          </a:prstGeom>
        </p:spPr>
      </p:pic>
      <p:sp>
        <p:nvSpPr>
          <p:cNvPr id="4" name="Text Placeholder 3">
            <a:extLst>
              <a:ext uri="{FF2B5EF4-FFF2-40B4-BE49-F238E27FC236}">
                <a16:creationId xmlns:a16="http://schemas.microsoft.com/office/drawing/2014/main" id="{61810D18-D805-534E-AC4E-3F1F70CCD8A5}"/>
              </a:ext>
            </a:extLst>
          </p:cNvPr>
          <p:cNvSpPr>
            <a:spLocks noGrp="1"/>
          </p:cNvSpPr>
          <p:nvPr>
            <p:ph type="body" sz="quarter" idx="10" hasCustomPrompt="1"/>
          </p:nvPr>
        </p:nvSpPr>
        <p:spPr>
          <a:xfrm>
            <a:off x="358775" y="1952625"/>
            <a:ext cx="8426450" cy="619125"/>
          </a:xfrm>
        </p:spPr>
        <p:txBody>
          <a:bodyPr/>
          <a:lstStyle>
            <a:lvl1pPr algn="ctr">
              <a:defRPr sz="2200" b="1">
                <a:solidFill>
                  <a:schemeClr val="bg1"/>
                </a:solidFill>
              </a:defRPr>
            </a:lvl1pPr>
          </a:lstStyle>
          <a:p>
            <a:pPr lvl="0"/>
            <a:r>
              <a:rPr lang="en-US" dirty="0"/>
              <a:t>Questions?</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03192" y="3465400"/>
            <a:ext cx="1490997" cy="1490997"/>
          </a:xfrm>
          <a:prstGeom prst="rect">
            <a:avLst/>
          </a:prstGeom>
        </p:spPr>
      </p:pic>
    </p:spTree>
    <p:extLst>
      <p:ext uri="{BB962C8B-B14F-4D97-AF65-F5344CB8AC3E}">
        <p14:creationId xmlns:p14="http://schemas.microsoft.com/office/powerpoint/2010/main" val="4395880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2F2116-70B0-0A40-9A99-39B093E90C85}"/>
              </a:ext>
            </a:extLst>
          </p:cNvPr>
          <p:cNvSpPr/>
          <p:nvPr userDrawn="1"/>
        </p:nvSpPr>
        <p:spPr>
          <a:xfrm>
            <a:off x="-102034" y="0"/>
            <a:ext cx="9240253" cy="5143500"/>
          </a:xfrm>
          <a:prstGeom prst="rect">
            <a:avLst/>
          </a:prstGeom>
          <a:solidFill>
            <a:srgbClr val="E6462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accent1"/>
              </a:solidFill>
            </a:endParaRPr>
          </a:p>
        </p:txBody>
      </p:sp>
      <p:pic>
        <p:nvPicPr>
          <p:cNvPr id="4" name="Picture 3" descr="A close up of a logo&#10;&#10;Description automatically generated">
            <a:extLst>
              <a:ext uri="{FF2B5EF4-FFF2-40B4-BE49-F238E27FC236}">
                <a16:creationId xmlns:a16="http://schemas.microsoft.com/office/drawing/2014/main" id="{FC6C9423-2ECA-CD45-9BE8-3D9F205D05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5625" y="3271823"/>
            <a:ext cx="322829" cy="322829"/>
          </a:xfrm>
          <a:prstGeom prst="rect">
            <a:avLst/>
          </a:prstGeom>
        </p:spPr>
      </p:pic>
      <p:pic>
        <p:nvPicPr>
          <p:cNvPr id="5" name="Picture 4" descr="A close up of a logo&#10;&#10;Description automatically generated">
            <a:extLst>
              <a:ext uri="{FF2B5EF4-FFF2-40B4-BE49-F238E27FC236}">
                <a16:creationId xmlns:a16="http://schemas.microsoft.com/office/drawing/2014/main" id="{39587C46-DB1B-284B-B753-D9F8965572C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165" y="3241606"/>
            <a:ext cx="391694" cy="391694"/>
          </a:xfrm>
          <a:prstGeom prst="rect">
            <a:avLst/>
          </a:prstGeom>
        </p:spPr>
      </p:pic>
      <p:pic>
        <p:nvPicPr>
          <p:cNvPr id="6" name="Picture 5" descr="A close up of a logo&#10;&#10;Description automatically generated">
            <a:extLst>
              <a:ext uri="{FF2B5EF4-FFF2-40B4-BE49-F238E27FC236}">
                <a16:creationId xmlns:a16="http://schemas.microsoft.com/office/drawing/2014/main" id="{190F75B7-D6B0-654C-95E8-A0DD9735499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0000" y="3276041"/>
            <a:ext cx="322829" cy="322829"/>
          </a:xfrm>
          <a:prstGeom prst="rect">
            <a:avLst/>
          </a:prstGeom>
        </p:spPr>
      </p:pic>
      <p:pic>
        <p:nvPicPr>
          <p:cNvPr id="7" name="Picture 6" descr="A close up of a logo&#10;&#10;Description automatically generated">
            <a:extLst>
              <a:ext uri="{FF2B5EF4-FFF2-40B4-BE49-F238E27FC236}">
                <a16:creationId xmlns:a16="http://schemas.microsoft.com/office/drawing/2014/main" id="{802A81A5-A3BF-3240-937B-95577F14018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264347" y="3170544"/>
            <a:ext cx="533818" cy="533818"/>
          </a:xfrm>
          <a:prstGeom prst="rect">
            <a:avLst/>
          </a:prstGeom>
        </p:spPr>
      </p:pic>
      <p:sp>
        <p:nvSpPr>
          <p:cNvPr id="14" name="Picture Placeholder 12">
            <a:extLst>
              <a:ext uri="{FF2B5EF4-FFF2-40B4-BE49-F238E27FC236}">
                <a16:creationId xmlns:a16="http://schemas.microsoft.com/office/drawing/2014/main" id="{9E07EDDF-AE60-8841-BDD4-E3CB0F1F43E4}"/>
              </a:ext>
            </a:extLst>
          </p:cNvPr>
          <p:cNvSpPr>
            <a:spLocks noGrp="1"/>
          </p:cNvSpPr>
          <p:nvPr>
            <p:ph type="pic" sz="quarter" idx="10"/>
          </p:nvPr>
        </p:nvSpPr>
        <p:spPr>
          <a:xfrm>
            <a:off x="4765676" y="0"/>
            <a:ext cx="4372544" cy="5143500"/>
          </a:xfrm>
        </p:spPr>
        <p:txBody>
          <a:bodyPr/>
          <a:lstStyle/>
          <a:p>
            <a:endParaRPr lang="en-US" dirty="0"/>
          </a:p>
        </p:txBody>
      </p:sp>
      <p:sp>
        <p:nvSpPr>
          <p:cNvPr id="12" name="Title 1">
            <a:extLst>
              <a:ext uri="{FF2B5EF4-FFF2-40B4-BE49-F238E27FC236}">
                <a16:creationId xmlns:a16="http://schemas.microsoft.com/office/drawing/2014/main" id="{808BD2E6-1033-4D4A-B17F-9B0C64E7E2BB}"/>
              </a:ext>
            </a:extLst>
          </p:cNvPr>
          <p:cNvSpPr>
            <a:spLocks noGrp="1"/>
          </p:cNvSpPr>
          <p:nvPr>
            <p:ph type="title" hasCustomPrompt="1"/>
          </p:nvPr>
        </p:nvSpPr>
        <p:spPr>
          <a:xfrm>
            <a:off x="358775" y="376238"/>
            <a:ext cx="4019551" cy="485387"/>
          </a:xfrm>
        </p:spPr>
        <p:txBody>
          <a:bodyPr/>
          <a:lstStyle>
            <a:lvl1pPr>
              <a:defRPr>
                <a:solidFill>
                  <a:schemeClr val="bg1"/>
                </a:solidFill>
              </a:defRPr>
            </a:lvl1pPr>
          </a:lstStyle>
          <a:p>
            <a:r>
              <a:rPr lang="en-US" dirty="0"/>
              <a:t>Connect with us</a:t>
            </a:r>
          </a:p>
        </p:txBody>
      </p:sp>
      <p:sp>
        <p:nvSpPr>
          <p:cNvPr id="11" name="Date Placeholder 3">
            <a:extLst>
              <a:ext uri="{FF2B5EF4-FFF2-40B4-BE49-F238E27FC236}">
                <a16:creationId xmlns:a16="http://schemas.microsoft.com/office/drawing/2014/main" id="{A5FEF901-2FAA-4263-AEB6-88A0D2B07001}"/>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0CA7E288-B793-4AB8-A23C-034C74EB91AC}"/>
              </a:ext>
            </a:extLst>
          </p:cNvPr>
          <p:cNvSpPr txBox="1">
            <a:spLocks/>
          </p:cNvSpPr>
          <p:nvPr userDrawn="1"/>
        </p:nvSpPr>
        <p:spPr bwMode="auto">
          <a:xfrm>
            <a:off x="358775" y="1088827"/>
            <a:ext cx="4019551" cy="1965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400" b="1" kern="1200">
                <a:solidFill>
                  <a:schemeClr val="bg1"/>
                </a:solidFill>
                <a:latin typeface="Arial" panose="020B0604020202020204" pitchFamily="34" charset="0"/>
                <a:ea typeface="ＭＳ Ｐゴシック" charset="0"/>
                <a:cs typeface="Arial" panose="020B0604020202020204" pitchFamily="34" charset="0"/>
              </a:defRPr>
            </a:lvl1pPr>
            <a:lvl2pPr algn="l" defTabSz="457200" rtl="0" eaLnBrk="1" fontAlgn="base" hangingPunct="1">
              <a:spcBef>
                <a:spcPct val="0"/>
              </a:spcBef>
              <a:spcAft>
                <a:spcPct val="0"/>
              </a:spcAft>
              <a:defRPr sz="2400" b="1">
                <a:solidFill>
                  <a:schemeClr val="accent1"/>
                </a:solidFill>
                <a:latin typeface="Tw Cen MT" charset="0"/>
                <a:ea typeface="ＭＳ Ｐゴシック" charset="0"/>
              </a:defRPr>
            </a:lvl2pPr>
            <a:lvl3pPr algn="l" defTabSz="457200" rtl="0" eaLnBrk="1" fontAlgn="base" hangingPunct="1">
              <a:spcBef>
                <a:spcPct val="0"/>
              </a:spcBef>
              <a:spcAft>
                <a:spcPct val="0"/>
              </a:spcAft>
              <a:defRPr sz="2400" b="1">
                <a:solidFill>
                  <a:schemeClr val="accent1"/>
                </a:solidFill>
                <a:latin typeface="Tw Cen MT" charset="0"/>
                <a:ea typeface="ＭＳ Ｐゴシック" charset="0"/>
              </a:defRPr>
            </a:lvl3pPr>
            <a:lvl4pPr algn="l" defTabSz="457200" rtl="0" eaLnBrk="1" fontAlgn="base" hangingPunct="1">
              <a:spcBef>
                <a:spcPct val="0"/>
              </a:spcBef>
              <a:spcAft>
                <a:spcPct val="0"/>
              </a:spcAft>
              <a:defRPr sz="2400" b="1">
                <a:solidFill>
                  <a:schemeClr val="accent1"/>
                </a:solidFill>
                <a:latin typeface="Tw Cen MT" charset="0"/>
                <a:ea typeface="ＭＳ Ｐゴシック" charset="0"/>
              </a:defRPr>
            </a:lvl4pPr>
            <a:lvl5pPr algn="l" defTabSz="457200" rtl="0" eaLnBrk="1" fontAlgn="base" hangingPunct="1">
              <a:spcBef>
                <a:spcPct val="0"/>
              </a:spcBef>
              <a:spcAft>
                <a:spcPct val="0"/>
              </a:spcAft>
              <a:defRPr sz="2400" b="1">
                <a:solidFill>
                  <a:schemeClr val="accent1"/>
                </a:solidFill>
                <a:latin typeface="Tw Cen MT" charset="0"/>
                <a:ea typeface="ＭＳ Ｐゴシック" charset="0"/>
              </a:defRPr>
            </a:lvl5pPr>
            <a:lvl6pPr marL="457200" algn="l" defTabSz="457200" rtl="0" eaLnBrk="1" fontAlgn="base" hangingPunct="1">
              <a:spcBef>
                <a:spcPct val="0"/>
              </a:spcBef>
              <a:spcAft>
                <a:spcPct val="0"/>
              </a:spcAft>
              <a:defRPr sz="2400" b="1">
                <a:solidFill>
                  <a:schemeClr val="accent1"/>
                </a:solidFill>
                <a:latin typeface="Tw Cen MT" charset="0"/>
                <a:ea typeface="ＭＳ Ｐゴシック" charset="0"/>
              </a:defRPr>
            </a:lvl6pPr>
            <a:lvl7pPr marL="914400" algn="l" defTabSz="457200" rtl="0" eaLnBrk="1" fontAlgn="base" hangingPunct="1">
              <a:spcBef>
                <a:spcPct val="0"/>
              </a:spcBef>
              <a:spcAft>
                <a:spcPct val="0"/>
              </a:spcAft>
              <a:defRPr sz="2400" b="1">
                <a:solidFill>
                  <a:schemeClr val="accent1"/>
                </a:solidFill>
                <a:latin typeface="Tw Cen MT" charset="0"/>
                <a:ea typeface="ＭＳ Ｐゴシック" charset="0"/>
              </a:defRPr>
            </a:lvl7pPr>
            <a:lvl8pPr marL="1371600" algn="l" defTabSz="457200" rtl="0" eaLnBrk="1" fontAlgn="base" hangingPunct="1">
              <a:spcBef>
                <a:spcPct val="0"/>
              </a:spcBef>
              <a:spcAft>
                <a:spcPct val="0"/>
              </a:spcAft>
              <a:defRPr sz="2400" b="1">
                <a:solidFill>
                  <a:schemeClr val="accent1"/>
                </a:solidFill>
                <a:latin typeface="Tw Cen MT" charset="0"/>
                <a:ea typeface="ＭＳ Ｐゴシック" charset="0"/>
              </a:defRPr>
            </a:lvl8pPr>
            <a:lvl9pPr marL="1828800" algn="l" defTabSz="457200" rtl="0" eaLnBrk="1" fontAlgn="base" hangingPunct="1">
              <a:spcBef>
                <a:spcPct val="0"/>
              </a:spcBef>
              <a:spcAft>
                <a:spcPct val="0"/>
              </a:spcAft>
              <a:defRPr sz="2400" b="1">
                <a:solidFill>
                  <a:schemeClr val="accent1"/>
                </a:solidFill>
                <a:latin typeface="Tw Cen MT" charset="0"/>
                <a:ea typeface="ＭＳ Ｐゴシック" charset="0"/>
              </a:defRPr>
            </a:lvl9pPr>
          </a:lstStyle>
          <a:p>
            <a:r>
              <a:rPr lang="en-AU" sz="1800" b="0" dirty="0">
                <a:solidFill>
                  <a:schemeClr val="tx1"/>
                </a:solidFill>
              </a:rPr>
              <a:t>Insert team/discipline area/</a:t>
            </a:r>
          </a:p>
          <a:p>
            <a:r>
              <a:rPr lang="en-AU" sz="1800" b="0" dirty="0">
                <a:solidFill>
                  <a:schemeClr val="tx1"/>
                </a:solidFill>
              </a:rPr>
              <a:t>First name Last name</a:t>
            </a:r>
          </a:p>
          <a:p>
            <a:r>
              <a:rPr lang="en-AU" sz="1800" b="0" dirty="0">
                <a:solidFill>
                  <a:schemeClr val="tx1"/>
                </a:solidFill>
              </a:rPr>
              <a:t>Position</a:t>
            </a:r>
          </a:p>
          <a:p>
            <a:r>
              <a:rPr lang="en-AU" sz="1800" b="0" dirty="0">
                <a:solidFill>
                  <a:schemeClr val="tx1"/>
                </a:solidFill>
              </a:rPr>
              <a:t>+61 2 XXXX </a:t>
            </a:r>
            <a:r>
              <a:rPr lang="en-AU" sz="1800" b="0" dirty="0" err="1">
                <a:solidFill>
                  <a:schemeClr val="tx1"/>
                </a:solidFill>
              </a:rPr>
              <a:t>XXXX</a:t>
            </a:r>
            <a:endParaRPr lang="en-AU" sz="1800" b="0" dirty="0">
              <a:solidFill>
                <a:schemeClr val="tx1"/>
              </a:solidFill>
            </a:endParaRPr>
          </a:p>
          <a:p>
            <a:r>
              <a:rPr lang="en-AU" sz="1800" b="0" dirty="0">
                <a:solidFill>
                  <a:schemeClr val="tx1"/>
                </a:solidFill>
              </a:rPr>
              <a:t>first.last@sydney.edu.au</a:t>
            </a:r>
          </a:p>
          <a:p>
            <a:r>
              <a:rPr lang="en-AU" sz="1800" b="0" dirty="0">
                <a:solidFill>
                  <a:schemeClr val="tx1"/>
                </a:solidFill>
              </a:rPr>
              <a:t>sydney.edu.au/</a:t>
            </a:r>
            <a:r>
              <a:rPr lang="en-AU" sz="1800" b="0" dirty="0" err="1">
                <a:solidFill>
                  <a:schemeClr val="tx1"/>
                </a:solidFill>
              </a:rPr>
              <a:t>url</a:t>
            </a:r>
            <a:endParaRPr lang="en-AU" sz="1800" b="0" dirty="0">
              <a:solidFill>
                <a:schemeClr val="tx1"/>
              </a:solidFill>
            </a:endParaRPr>
          </a:p>
        </p:txBody>
      </p:sp>
      <p:sp>
        <p:nvSpPr>
          <p:cNvPr id="18" name="Title 1">
            <a:extLst>
              <a:ext uri="{FF2B5EF4-FFF2-40B4-BE49-F238E27FC236}">
                <a16:creationId xmlns:a16="http://schemas.microsoft.com/office/drawing/2014/main" id="{B3463AF4-5701-4B9C-82C2-CA670D825355}"/>
              </a:ext>
            </a:extLst>
          </p:cNvPr>
          <p:cNvSpPr txBox="1">
            <a:spLocks/>
          </p:cNvSpPr>
          <p:nvPr userDrawn="1"/>
        </p:nvSpPr>
        <p:spPr bwMode="auto">
          <a:xfrm>
            <a:off x="358775" y="3745134"/>
            <a:ext cx="4019551" cy="9510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400" b="1" kern="1200">
                <a:solidFill>
                  <a:schemeClr val="bg1"/>
                </a:solidFill>
                <a:latin typeface="Arial" panose="020B0604020202020204" pitchFamily="34" charset="0"/>
                <a:ea typeface="ＭＳ Ｐゴシック" charset="0"/>
                <a:cs typeface="Arial" panose="020B0604020202020204" pitchFamily="34" charset="0"/>
              </a:defRPr>
            </a:lvl1pPr>
            <a:lvl2pPr algn="l" defTabSz="457200" rtl="0" eaLnBrk="1" fontAlgn="base" hangingPunct="1">
              <a:spcBef>
                <a:spcPct val="0"/>
              </a:spcBef>
              <a:spcAft>
                <a:spcPct val="0"/>
              </a:spcAft>
              <a:defRPr sz="2400" b="1">
                <a:solidFill>
                  <a:schemeClr val="accent1"/>
                </a:solidFill>
                <a:latin typeface="Tw Cen MT" charset="0"/>
                <a:ea typeface="ＭＳ Ｐゴシック" charset="0"/>
              </a:defRPr>
            </a:lvl2pPr>
            <a:lvl3pPr algn="l" defTabSz="457200" rtl="0" eaLnBrk="1" fontAlgn="base" hangingPunct="1">
              <a:spcBef>
                <a:spcPct val="0"/>
              </a:spcBef>
              <a:spcAft>
                <a:spcPct val="0"/>
              </a:spcAft>
              <a:defRPr sz="2400" b="1">
                <a:solidFill>
                  <a:schemeClr val="accent1"/>
                </a:solidFill>
                <a:latin typeface="Tw Cen MT" charset="0"/>
                <a:ea typeface="ＭＳ Ｐゴシック" charset="0"/>
              </a:defRPr>
            </a:lvl3pPr>
            <a:lvl4pPr algn="l" defTabSz="457200" rtl="0" eaLnBrk="1" fontAlgn="base" hangingPunct="1">
              <a:spcBef>
                <a:spcPct val="0"/>
              </a:spcBef>
              <a:spcAft>
                <a:spcPct val="0"/>
              </a:spcAft>
              <a:defRPr sz="2400" b="1">
                <a:solidFill>
                  <a:schemeClr val="accent1"/>
                </a:solidFill>
                <a:latin typeface="Tw Cen MT" charset="0"/>
                <a:ea typeface="ＭＳ Ｐゴシック" charset="0"/>
              </a:defRPr>
            </a:lvl4pPr>
            <a:lvl5pPr algn="l" defTabSz="457200" rtl="0" eaLnBrk="1" fontAlgn="base" hangingPunct="1">
              <a:spcBef>
                <a:spcPct val="0"/>
              </a:spcBef>
              <a:spcAft>
                <a:spcPct val="0"/>
              </a:spcAft>
              <a:defRPr sz="2400" b="1">
                <a:solidFill>
                  <a:schemeClr val="accent1"/>
                </a:solidFill>
                <a:latin typeface="Tw Cen MT" charset="0"/>
                <a:ea typeface="ＭＳ Ｐゴシック" charset="0"/>
              </a:defRPr>
            </a:lvl5pPr>
            <a:lvl6pPr marL="457200" algn="l" defTabSz="457200" rtl="0" eaLnBrk="1" fontAlgn="base" hangingPunct="1">
              <a:spcBef>
                <a:spcPct val="0"/>
              </a:spcBef>
              <a:spcAft>
                <a:spcPct val="0"/>
              </a:spcAft>
              <a:defRPr sz="2400" b="1">
                <a:solidFill>
                  <a:schemeClr val="accent1"/>
                </a:solidFill>
                <a:latin typeface="Tw Cen MT" charset="0"/>
                <a:ea typeface="ＭＳ Ｐゴシック" charset="0"/>
              </a:defRPr>
            </a:lvl6pPr>
            <a:lvl7pPr marL="914400" algn="l" defTabSz="457200" rtl="0" eaLnBrk="1" fontAlgn="base" hangingPunct="1">
              <a:spcBef>
                <a:spcPct val="0"/>
              </a:spcBef>
              <a:spcAft>
                <a:spcPct val="0"/>
              </a:spcAft>
              <a:defRPr sz="2400" b="1">
                <a:solidFill>
                  <a:schemeClr val="accent1"/>
                </a:solidFill>
                <a:latin typeface="Tw Cen MT" charset="0"/>
                <a:ea typeface="ＭＳ Ｐゴシック" charset="0"/>
              </a:defRPr>
            </a:lvl7pPr>
            <a:lvl8pPr marL="1371600" algn="l" defTabSz="457200" rtl="0" eaLnBrk="1" fontAlgn="base" hangingPunct="1">
              <a:spcBef>
                <a:spcPct val="0"/>
              </a:spcBef>
              <a:spcAft>
                <a:spcPct val="0"/>
              </a:spcAft>
              <a:defRPr sz="2400" b="1">
                <a:solidFill>
                  <a:schemeClr val="accent1"/>
                </a:solidFill>
                <a:latin typeface="Tw Cen MT" charset="0"/>
                <a:ea typeface="ＭＳ Ｐゴシック" charset="0"/>
              </a:defRPr>
            </a:lvl8pPr>
            <a:lvl9pPr marL="1828800" algn="l" defTabSz="457200" rtl="0" eaLnBrk="1" fontAlgn="base" hangingPunct="1">
              <a:spcBef>
                <a:spcPct val="0"/>
              </a:spcBef>
              <a:spcAft>
                <a:spcPct val="0"/>
              </a:spcAft>
              <a:defRPr sz="2400" b="1">
                <a:solidFill>
                  <a:schemeClr val="accent1"/>
                </a:solidFill>
                <a:latin typeface="Tw Cen MT" charset="0"/>
                <a:ea typeface="ＭＳ Ｐゴシック" charset="0"/>
              </a:defRPr>
            </a:lvl9pPr>
          </a:lstStyle>
          <a:p>
            <a:r>
              <a:rPr lang="en-AU" sz="1400" b="0" dirty="0">
                <a:solidFill>
                  <a:schemeClr val="tx1"/>
                </a:solidFill>
              </a:rPr>
              <a:t>Insert social media handles</a:t>
            </a:r>
          </a:p>
        </p:txBody>
      </p:sp>
    </p:spTree>
    <p:extLst>
      <p:ext uri="{BB962C8B-B14F-4D97-AF65-F5344CB8AC3E}">
        <p14:creationId xmlns:p14="http://schemas.microsoft.com/office/powerpoint/2010/main" val="2822603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blue left justified">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3" name="Picture 2">
            <a:extLst>
              <a:ext uri="{FF2B5EF4-FFF2-40B4-BE49-F238E27FC236}">
                <a16:creationId xmlns:a16="http://schemas.microsoft.com/office/drawing/2014/main" id="{141099E0-B2EC-464F-A0C3-6006871D84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8775" y="4125982"/>
            <a:ext cx="1854000" cy="641281"/>
          </a:xfrm>
          <a:prstGeom prst="rect">
            <a:avLst/>
          </a:prstGeom>
        </p:spPr>
      </p:pic>
      <p:sp>
        <p:nvSpPr>
          <p:cNvPr id="8" name="Title 8">
            <a:extLst>
              <a:ext uri="{FF2B5EF4-FFF2-40B4-BE49-F238E27FC236}">
                <a16:creationId xmlns:a16="http://schemas.microsoft.com/office/drawing/2014/main" id="{E47FCD98-EB33-C04F-BAE9-9B7060223ED1}"/>
              </a:ext>
            </a:extLst>
          </p:cNvPr>
          <p:cNvSpPr>
            <a:spLocks noGrp="1"/>
          </p:cNvSpPr>
          <p:nvPr>
            <p:ph type="title" hasCustomPrompt="1"/>
          </p:nvPr>
        </p:nvSpPr>
        <p:spPr>
          <a:xfrm>
            <a:off x="381884" y="1212811"/>
            <a:ext cx="8407184" cy="531455"/>
          </a:xfrm>
        </p:spPr>
        <p:txBody>
          <a:bodyPr anchor="t"/>
          <a:lstStyle>
            <a:lvl1pPr algn="l">
              <a:defRPr sz="2200">
                <a:solidFill>
                  <a:schemeClr val="bg1"/>
                </a:solidFill>
              </a:defRPr>
            </a:lvl1pPr>
          </a:lstStyle>
          <a:p>
            <a:r>
              <a:rPr lang="en-US" dirty="0"/>
              <a:t>Title heading here</a:t>
            </a:r>
          </a:p>
        </p:txBody>
      </p:sp>
      <p:sp>
        <p:nvSpPr>
          <p:cNvPr id="11" name="Text Placeholder 4">
            <a:extLst>
              <a:ext uri="{FF2B5EF4-FFF2-40B4-BE49-F238E27FC236}">
                <a16:creationId xmlns:a16="http://schemas.microsoft.com/office/drawing/2014/main" id="{90CFCEB7-F6D8-F541-9074-02694889BD6D}"/>
              </a:ext>
            </a:extLst>
          </p:cNvPr>
          <p:cNvSpPr>
            <a:spLocks noGrp="1"/>
          </p:cNvSpPr>
          <p:nvPr>
            <p:ph type="body" sz="quarter" idx="13" hasCustomPrompt="1"/>
          </p:nvPr>
        </p:nvSpPr>
        <p:spPr>
          <a:xfrm>
            <a:off x="382766" y="1852176"/>
            <a:ext cx="8406302" cy="531455"/>
          </a:xfrm>
        </p:spPr>
        <p:txBody>
          <a:bodyPr lIns="0" tIns="0" rIns="0" bIns="0"/>
          <a:lstStyle>
            <a:lvl1pPr marL="0" indent="0" algn="l">
              <a:lnSpc>
                <a:spcPct val="90000"/>
              </a:lnSpc>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spTree>
    <p:extLst>
      <p:ext uri="{BB962C8B-B14F-4D97-AF65-F5344CB8AC3E}">
        <p14:creationId xmlns:p14="http://schemas.microsoft.com/office/powerpoint/2010/main" val="412442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yellow left justified">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Title 8">
            <a:extLst>
              <a:ext uri="{FF2B5EF4-FFF2-40B4-BE49-F238E27FC236}">
                <a16:creationId xmlns:a16="http://schemas.microsoft.com/office/drawing/2014/main" id="{86E0BA08-BCEE-7E40-AAE1-56707940D033}"/>
              </a:ext>
            </a:extLst>
          </p:cNvPr>
          <p:cNvSpPr>
            <a:spLocks noGrp="1"/>
          </p:cNvSpPr>
          <p:nvPr>
            <p:ph type="title" hasCustomPrompt="1"/>
          </p:nvPr>
        </p:nvSpPr>
        <p:spPr>
          <a:xfrm>
            <a:off x="381884" y="1212811"/>
            <a:ext cx="8407184" cy="531455"/>
          </a:xfrm>
        </p:spPr>
        <p:txBody>
          <a:bodyPr anchor="t"/>
          <a:lstStyle>
            <a:lvl1pPr algn="l">
              <a:defRPr sz="2200">
                <a:solidFill>
                  <a:schemeClr val="tx1"/>
                </a:solidFill>
              </a:defRPr>
            </a:lvl1pPr>
          </a:lstStyle>
          <a:p>
            <a:r>
              <a:rPr lang="en-US" dirty="0"/>
              <a:t>Title heading here</a:t>
            </a:r>
          </a:p>
        </p:txBody>
      </p:sp>
      <p:sp>
        <p:nvSpPr>
          <p:cNvPr id="10" name="Text Placeholder 4">
            <a:extLst>
              <a:ext uri="{FF2B5EF4-FFF2-40B4-BE49-F238E27FC236}">
                <a16:creationId xmlns:a16="http://schemas.microsoft.com/office/drawing/2014/main" id="{86D5FB94-986E-164F-9D09-85493D8294E6}"/>
              </a:ext>
            </a:extLst>
          </p:cNvPr>
          <p:cNvSpPr>
            <a:spLocks noGrp="1"/>
          </p:cNvSpPr>
          <p:nvPr>
            <p:ph type="body" sz="quarter" idx="13" hasCustomPrompt="1"/>
          </p:nvPr>
        </p:nvSpPr>
        <p:spPr>
          <a:xfrm>
            <a:off x="382766" y="1852175"/>
            <a:ext cx="8406302" cy="532800"/>
          </a:xfrm>
        </p:spPr>
        <p:txBody>
          <a:bodyPr lIns="0" tIns="0" rIns="0" bIns="0"/>
          <a:lstStyle>
            <a:lvl1pPr marL="0" indent="0" algn="l">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2F3CD417-9589-7449-92D5-ECB1E55AB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8775" y="4127897"/>
            <a:ext cx="1852610" cy="640800"/>
          </a:xfrm>
          <a:prstGeom prst="rect">
            <a:avLst/>
          </a:prstGeom>
        </p:spPr>
      </p:pic>
    </p:spTree>
    <p:extLst>
      <p:ext uri="{BB962C8B-B14F-4D97-AF65-F5344CB8AC3E}">
        <p14:creationId xmlns:p14="http://schemas.microsoft.com/office/powerpoint/2010/main" val="857315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age with image behi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6298463-28C6-A342-8992-59A88DF1B8DC}"/>
              </a:ext>
            </a:extLst>
          </p:cNvPr>
          <p:cNvSpPr>
            <a:spLocks noGrp="1"/>
          </p:cNvSpPr>
          <p:nvPr>
            <p:ph type="pic" sz="quarter" idx="14"/>
          </p:nvPr>
        </p:nvSpPr>
        <p:spPr>
          <a:xfrm>
            <a:off x="0" y="0"/>
            <a:ext cx="9144000" cy="5143500"/>
          </a:xfrm>
        </p:spPr>
        <p:txBody>
          <a:bodyPr/>
          <a:lstStyle/>
          <a:p>
            <a:endParaRPr lang="en-US" dirty="0"/>
          </a:p>
        </p:txBody>
      </p:sp>
      <p:sp>
        <p:nvSpPr>
          <p:cNvPr id="9" name="Title 8"/>
          <p:cNvSpPr>
            <a:spLocks noGrp="1"/>
          </p:cNvSpPr>
          <p:nvPr>
            <p:ph type="title" hasCustomPrompt="1"/>
          </p:nvPr>
        </p:nvSpPr>
        <p:spPr>
          <a:xfrm>
            <a:off x="358775" y="385420"/>
            <a:ext cx="8430293" cy="531455"/>
          </a:xfrm>
        </p:spPr>
        <p:txBody>
          <a:bodyPr anchor="t"/>
          <a:lstStyle>
            <a:lvl1pPr algn="ctr">
              <a:defRPr sz="2200">
                <a:solidFill>
                  <a:srgbClr val="E64626"/>
                </a:solidFill>
              </a:defRPr>
            </a:lvl1pPr>
          </a:lstStyle>
          <a:p>
            <a:r>
              <a:rPr lang="en-US" dirty="0"/>
              <a:t>Title heading here</a:t>
            </a:r>
          </a:p>
        </p:txBody>
      </p:sp>
      <p:sp>
        <p:nvSpPr>
          <p:cNvPr id="16" name="Text Placeholder 4"/>
          <p:cNvSpPr>
            <a:spLocks noGrp="1"/>
          </p:cNvSpPr>
          <p:nvPr>
            <p:ph type="body" sz="quarter" idx="13" hasCustomPrompt="1"/>
          </p:nvPr>
        </p:nvSpPr>
        <p:spPr>
          <a:xfrm>
            <a:off x="358775" y="995844"/>
            <a:ext cx="8430293"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47768" y="1527299"/>
            <a:ext cx="1848464" cy="639366"/>
          </a:xfrm>
          <a:prstGeom prst="rect">
            <a:avLst/>
          </a:prstGeom>
        </p:spPr>
      </p:pic>
    </p:spTree>
    <p:extLst>
      <p:ext uri="{BB962C8B-B14F-4D97-AF65-F5344CB8AC3E}">
        <p14:creationId xmlns:p14="http://schemas.microsoft.com/office/powerpoint/2010/main" val="142648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charcoal left justifi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DF7538-00CA-AD4E-AF40-87B8852AB7F5}"/>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40751D3-F541-6D48-A684-6D495EA1D7F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8775" y="4125982"/>
            <a:ext cx="1854000" cy="641281"/>
          </a:xfrm>
          <a:prstGeom prst="rect">
            <a:avLst/>
          </a:prstGeom>
        </p:spPr>
      </p:pic>
      <p:sp>
        <p:nvSpPr>
          <p:cNvPr id="11" name="Title 8">
            <a:extLst>
              <a:ext uri="{FF2B5EF4-FFF2-40B4-BE49-F238E27FC236}">
                <a16:creationId xmlns:a16="http://schemas.microsoft.com/office/drawing/2014/main" id="{DCBCA472-A1E0-8C4E-A114-C53E60E9D8DF}"/>
              </a:ext>
            </a:extLst>
          </p:cNvPr>
          <p:cNvSpPr>
            <a:spLocks noGrp="1"/>
          </p:cNvSpPr>
          <p:nvPr>
            <p:ph type="title" hasCustomPrompt="1"/>
          </p:nvPr>
        </p:nvSpPr>
        <p:spPr>
          <a:xfrm>
            <a:off x="381884" y="1212811"/>
            <a:ext cx="8407184" cy="531455"/>
          </a:xfrm>
        </p:spPr>
        <p:txBody>
          <a:bodyPr anchor="t"/>
          <a:lstStyle>
            <a:lvl1pPr algn="l">
              <a:defRPr sz="2200">
                <a:solidFill>
                  <a:schemeClr val="bg1"/>
                </a:solidFill>
              </a:defRPr>
            </a:lvl1pPr>
          </a:lstStyle>
          <a:p>
            <a:r>
              <a:rPr lang="en-US" dirty="0"/>
              <a:t>Title heading here</a:t>
            </a:r>
          </a:p>
        </p:txBody>
      </p:sp>
      <p:sp>
        <p:nvSpPr>
          <p:cNvPr id="12" name="Text Placeholder 4">
            <a:extLst>
              <a:ext uri="{FF2B5EF4-FFF2-40B4-BE49-F238E27FC236}">
                <a16:creationId xmlns:a16="http://schemas.microsoft.com/office/drawing/2014/main" id="{F4BFE064-8601-3645-8880-83831DA209AF}"/>
              </a:ext>
            </a:extLst>
          </p:cNvPr>
          <p:cNvSpPr>
            <a:spLocks noGrp="1"/>
          </p:cNvSpPr>
          <p:nvPr>
            <p:ph type="body" sz="quarter" idx="13" hasCustomPrompt="1"/>
          </p:nvPr>
        </p:nvSpPr>
        <p:spPr>
          <a:xfrm>
            <a:off x="382766" y="1852176"/>
            <a:ext cx="8406302" cy="531455"/>
          </a:xfrm>
        </p:spPr>
        <p:txBody>
          <a:bodyPr lIns="0" tIns="0" rIns="0" bIns="0"/>
          <a:lstStyle>
            <a:lvl1pPr marL="0" indent="0" algn="l">
              <a:lnSpc>
                <a:spcPct val="90000"/>
              </a:lnSpc>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spTree>
    <p:extLst>
      <p:ext uri="{BB962C8B-B14F-4D97-AF65-F5344CB8AC3E}">
        <p14:creationId xmlns:p14="http://schemas.microsoft.com/office/powerpoint/2010/main" val="7169707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960AE-A7C6-442B-BD61-B6D937AF62E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3C0759C-7122-4301-AC13-D1E2EC5FFC0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F9922C3-EDCC-4A52-87CD-24027F321EAA}"/>
              </a:ext>
            </a:extLst>
          </p:cNvPr>
          <p:cNvSpPr>
            <a:spLocks noGrp="1"/>
          </p:cNvSpPr>
          <p:nvPr>
            <p:ph type="dt" sz="half" idx="10"/>
          </p:nvPr>
        </p:nvSpPr>
        <p:spPr/>
        <p:txBody>
          <a:bodyPr/>
          <a:lstStyle/>
          <a:p>
            <a:fld id="{1662E6B2-7A0E-4DA6-9764-8D8B118C9051}" type="datetimeFigureOut">
              <a:rPr lang="en-AU" smtClean="0"/>
              <a:t>10/10/2019</a:t>
            </a:fld>
            <a:endParaRPr lang="en-AU"/>
          </a:p>
        </p:txBody>
      </p:sp>
      <p:sp>
        <p:nvSpPr>
          <p:cNvPr id="5" name="Footer Placeholder 4">
            <a:extLst>
              <a:ext uri="{FF2B5EF4-FFF2-40B4-BE49-F238E27FC236}">
                <a16:creationId xmlns:a16="http://schemas.microsoft.com/office/drawing/2014/main" id="{A936C4AF-73C0-4178-AA38-40D09876CE6B}"/>
              </a:ext>
            </a:extLst>
          </p:cNvPr>
          <p:cNvSpPr>
            <a:spLocks noGrp="1"/>
          </p:cNvSpPr>
          <p:nvPr>
            <p:ph type="ftr" sz="quarter" idx="11"/>
          </p:nvPr>
        </p:nvSpPr>
        <p:spPr>
          <a:xfrm>
            <a:off x="1335295" y="4614421"/>
            <a:ext cx="5122280" cy="270000"/>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E75BB361-973B-4CA3-BD93-58FEAE48A72D}"/>
              </a:ext>
            </a:extLst>
          </p:cNvPr>
          <p:cNvSpPr>
            <a:spLocks noGrp="1"/>
          </p:cNvSpPr>
          <p:nvPr>
            <p:ph type="sldNum" sz="quarter" idx="12"/>
          </p:nvPr>
        </p:nvSpPr>
        <p:spPr>
          <a:xfrm>
            <a:off x="387240" y="4614421"/>
            <a:ext cx="685820" cy="270000"/>
          </a:xfrm>
          <a:prstGeom prst="rect">
            <a:avLst/>
          </a:prstGeom>
        </p:spPr>
        <p:txBody>
          <a:bodyPr/>
          <a:lstStyle/>
          <a:p>
            <a:fld id="{326969F5-EAD6-4070-99F9-6887F7A74DD2}" type="slidenum">
              <a:rPr lang="en-AU" smtClean="0"/>
              <a:t>‹#›</a:t>
            </a:fld>
            <a:endParaRPr lang="en-AU"/>
          </a:p>
        </p:txBody>
      </p:sp>
      <p:sp>
        <p:nvSpPr>
          <p:cNvPr id="7" name="Rectangle 6"/>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9"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8706834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363" y="1086"/>
          <a:ext cx="1357" cy="1079"/>
        </p:xfrm>
        <a:graphic>
          <a:graphicData uri="http://schemas.openxmlformats.org/presentationml/2006/ole">
            <mc:AlternateContent xmlns:mc="http://schemas.openxmlformats.org/markup-compatibility/2006">
              <mc:Choice xmlns:v="urn:schemas-microsoft-com:vml" Requires="v">
                <p:oleObj spid="_x0000_s105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363" y="1086"/>
                        <a:ext cx="1357" cy="1079"/>
                      </a:xfrm>
                      <a:prstGeom prst="rect">
                        <a:avLst/>
                      </a:prstGeom>
                    </p:spPr>
                  </p:pic>
                </p:oleObj>
              </mc:Fallback>
            </mc:AlternateContent>
          </a:graphicData>
        </a:graphic>
      </p:graphicFrame>
      <p:sp>
        <p:nvSpPr>
          <p:cNvPr id="18" name="Text Placeholder 16"/>
          <p:cNvSpPr>
            <a:spLocks noGrp="1"/>
          </p:cNvSpPr>
          <p:nvPr>
            <p:ph type="body" sz="quarter" idx="13"/>
          </p:nvPr>
        </p:nvSpPr>
        <p:spPr>
          <a:xfrm>
            <a:off x="1375704" y="4849773"/>
            <a:ext cx="6872038" cy="122027"/>
          </a:xfrm>
        </p:spPr>
        <p:txBody>
          <a:bodyPr/>
          <a:lstStyle>
            <a:lvl1pPr marL="0" indent="0">
              <a:buNone/>
              <a:defRPr sz="510"/>
            </a:lvl1pPr>
            <a:lvl2pPr>
              <a:defRPr sz="510"/>
            </a:lvl2pPr>
            <a:lvl3pPr>
              <a:defRPr sz="510"/>
            </a:lvl3pPr>
            <a:lvl4pPr>
              <a:defRPr sz="510"/>
            </a:lvl4pPr>
            <a:lvl5pPr>
              <a:defRPr sz="510"/>
            </a:lvl5pPr>
          </a:lstStyle>
          <a:p>
            <a:pPr lvl="0"/>
            <a:r>
              <a:rPr lang="en-US"/>
              <a:t>Click to edit Master text styles</a:t>
            </a:r>
          </a:p>
        </p:txBody>
      </p:sp>
      <p:sp>
        <p:nvSpPr>
          <p:cNvPr id="15" name="Title 1"/>
          <p:cNvSpPr>
            <a:spLocks noGrp="1"/>
          </p:cNvSpPr>
          <p:nvPr>
            <p:ph type="title"/>
          </p:nvPr>
        </p:nvSpPr>
        <p:spPr>
          <a:xfrm>
            <a:off x="408177" y="127427"/>
            <a:ext cx="8327648" cy="239735"/>
          </a:xfrm>
        </p:spPr>
        <p:txBody>
          <a:bodyPr/>
          <a:lstStyle>
            <a:lvl1pPr>
              <a:defRPr sz="1225">
                <a:solidFill>
                  <a:schemeClr val="accent1"/>
                </a:solidFill>
              </a:defRPr>
            </a:lvl1pPr>
          </a:lstStyle>
          <a:p>
            <a:r>
              <a:rPr lang="en-US"/>
              <a:t>Click to edit Master title style</a:t>
            </a:r>
          </a:p>
        </p:txBody>
      </p:sp>
      <p:sp>
        <p:nvSpPr>
          <p:cNvPr id="16" name="Text Placeholder 13"/>
          <p:cNvSpPr>
            <a:spLocks noGrp="1"/>
          </p:cNvSpPr>
          <p:nvPr>
            <p:ph type="body" sz="quarter" idx="10"/>
          </p:nvPr>
        </p:nvSpPr>
        <p:spPr>
          <a:xfrm>
            <a:off x="414655" y="302371"/>
            <a:ext cx="8327648" cy="309928"/>
          </a:xfrm>
        </p:spPr>
        <p:txBody>
          <a:bodyPr/>
          <a:lstStyle>
            <a:lvl1pPr marL="0" indent="0">
              <a:buNone/>
              <a:defRPr sz="715"/>
            </a:lvl1pPr>
          </a:lstStyle>
          <a:p>
            <a:pPr lvl="0"/>
            <a:r>
              <a:rPr lang="en-US"/>
              <a:t>Click to edit Master text styles</a:t>
            </a:r>
          </a:p>
        </p:txBody>
      </p:sp>
      <p:sp>
        <p:nvSpPr>
          <p:cNvPr id="6" name="Rectangle 5"/>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8"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9"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4076846886"/>
      </p:ext>
    </p:extLst>
  </p:cSld>
  <p:clrMapOvr>
    <a:masterClrMapping/>
  </p:clrMapOvr>
  <p:extLst mod="1">
    <p:ext uri="{DCECCB84-F9BA-43D5-87BE-67443E8EF086}">
      <p15:sldGuideLst xmlns:p15="http://schemas.microsoft.com/office/powerpoint/2012/main">
        <p15:guide id="1" orient="horz" pos="238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47" name="Title 1"/>
          <p:cNvSpPr>
            <a:spLocks noGrp="1"/>
          </p:cNvSpPr>
          <p:nvPr>
            <p:ph type="ctrTitle" hasCustomPrompt="1"/>
          </p:nvPr>
        </p:nvSpPr>
        <p:spPr>
          <a:xfrm>
            <a:off x="263071" y="258808"/>
            <a:ext cx="5245100" cy="909593"/>
          </a:xfrm>
          <a:prstGeom prst="rect">
            <a:avLst/>
          </a:prstGeom>
          <a:noFill/>
        </p:spPr>
        <p:txBody>
          <a:bodyPr wrap="square" lIns="0" rtlCol="0" anchor="t" anchorCtr="0">
            <a:noAutofit/>
          </a:bodyPr>
          <a:lstStyle>
            <a:lvl1pPr marL="0" algn="l">
              <a:lnSpc>
                <a:spcPct val="98000"/>
              </a:lnSpc>
              <a:tabLst>
                <a:tab pos="457189" algn="l"/>
              </a:tabLst>
              <a:defRPr lang="en-US" sz="2400" u="none" dirty="0">
                <a:solidFill>
                  <a:schemeClr val="tx2"/>
                </a:solidFill>
                <a:latin typeface="Arial" panose="020B0604020202020204" pitchFamily="34" charset="0"/>
                <a:ea typeface="+mn-ea"/>
                <a:cs typeface="Arial" panose="020B0604020202020204" pitchFamily="34" charset="0"/>
              </a:defRPr>
            </a:lvl1pPr>
          </a:lstStyle>
          <a:p>
            <a:pPr marL="0" lvl="0" algn="l"/>
            <a:r>
              <a:rPr lang="en-US"/>
              <a:t>Click to add title</a:t>
            </a:r>
            <a:br>
              <a:rPr lang="en-US"/>
            </a:br>
            <a:endParaRPr lang="en-US"/>
          </a:p>
        </p:txBody>
      </p:sp>
      <p:sp>
        <p:nvSpPr>
          <p:cNvPr id="3" name="Text Placeholder 2"/>
          <p:cNvSpPr>
            <a:spLocks noGrp="1"/>
          </p:cNvSpPr>
          <p:nvPr>
            <p:ph type="body" sz="quarter" idx="10" hasCustomPrompt="1"/>
          </p:nvPr>
        </p:nvSpPr>
        <p:spPr>
          <a:xfrm>
            <a:off x="275772" y="1295399"/>
            <a:ext cx="8601530" cy="254001"/>
          </a:xfrm>
          <a:prstGeom prst="rect">
            <a:avLst/>
          </a:prstGeom>
        </p:spPr>
        <p:txBody>
          <a:bodyPr/>
          <a:lstStyle>
            <a:lvl1pPr marL="0" indent="0" algn="l" defTabSz="1828754" rtl="0" eaLnBrk="1" latinLnBrk="0" hangingPunct="1">
              <a:lnSpc>
                <a:spcPct val="90000"/>
              </a:lnSpc>
              <a:spcBef>
                <a:spcPts val="2000"/>
              </a:spcBef>
              <a:buFont typeface="Arial" panose="020B0604020202020204" pitchFamily="34" charset="0"/>
              <a:buNone/>
              <a:defRPr lang="en-US" sz="1400" b="1"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2pPr>
            <a:lvl3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3pPr>
            <a:lvl4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4pPr>
            <a:lvl5pPr marL="0" indent="0" algn="l" defTabSz="1828754" rtl="0" eaLnBrk="1" latinLnBrk="0" hangingPunct="1">
              <a:lnSpc>
                <a:spcPct val="90000"/>
              </a:lnSpc>
              <a:spcBef>
                <a:spcPts val="2000"/>
              </a:spcBef>
              <a:buFont typeface="Arial" panose="020B0604020202020204" pitchFamily="34" charset="0"/>
              <a:buNone/>
              <a:defRPr lang="en-US" sz="1600" b="1" kern="1200" dirty="0">
                <a:solidFill>
                  <a:schemeClr val="accent1"/>
                </a:solidFill>
                <a:latin typeface="+mn-lt"/>
                <a:ea typeface="+mn-ea"/>
                <a:cs typeface="+mn-cs"/>
              </a:defRPr>
            </a:lvl5pPr>
          </a:lstStyle>
          <a:p>
            <a:pPr lvl="0"/>
            <a:r>
              <a:rPr lang="en-US"/>
              <a:t>Heading</a:t>
            </a:r>
          </a:p>
        </p:txBody>
      </p:sp>
      <p:sp>
        <p:nvSpPr>
          <p:cNvPr id="16" name="Text Placeholder 2"/>
          <p:cNvSpPr>
            <a:spLocks noGrp="1"/>
          </p:cNvSpPr>
          <p:nvPr>
            <p:ph type="body" sz="quarter" idx="12" hasCustomPrompt="1"/>
          </p:nvPr>
        </p:nvSpPr>
        <p:spPr>
          <a:xfrm>
            <a:off x="275771" y="63501"/>
            <a:ext cx="1001713" cy="123794"/>
          </a:xfrm>
          <a:prstGeom prst="rect">
            <a:avLst/>
          </a:prstGeom>
        </p:spPr>
        <p:txBody>
          <a:bodyPr wrap="none" tIns="0" bIns="0" anchor="ctr" anchorCtr="0"/>
          <a:lstStyle>
            <a:lvl1pPr marL="0" indent="0" algn="l" defTabSz="1828754" rtl="0" eaLnBrk="1" latinLnBrk="0" hangingPunct="1">
              <a:lnSpc>
                <a:spcPct val="90000"/>
              </a:lnSpc>
              <a:spcBef>
                <a:spcPts val="2000"/>
              </a:spcBef>
              <a:buFont typeface="Arial" panose="020B0604020202020204" pitchFamily="34" charset="0"/>
              <a:buNone/>
              <a:defRPr lang="en-US" sz="800" b="0"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2pPr>
            <a:lvl3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3pPr>
            <a:lvl4pPr marL="0" indent="0" algn="l" defTabSz="1828754"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4pPr>
            <a:lvl5pPr marL="0" indent="0" algn="l" defTabSz="1828754" rtl="0" eaLnBrk="1" latinLnBrk="0" hangingPunct="1">
              <a:lnSpc>
                <a:spcPct val="90000"/>
              </a:lnSpc>
              <a:spcBef>
                <a:spcPts val="2000"/>
              </a:spcBef>
              <a:buFont typeface="Arial" panose="020B0604020202020204" pitchFamily="34" charset="0"/>
              <a:buNone/>
              <a:defRPr lang="en-US" sz="1600" b="1" kern="1200" dirty="0">
                <a:solidFill>
                  <a:schemeClr val="accent1"/>
                </a:solidFill>
                <a:latin typeface="+mn-lt"/>
                <a:ea typeface="+mn-ea"/>
                <a:cs typeface="+mn-cs"/>
              </a:defRPr>
            </a:lvl5pPr>
          </a:lstStyle>
          <a:p>
            <a:pPr lvl="0"/>
            <a:r>
              <a:rPr lang="en-US"/>
              <a:t>0.0 Section name</a:t>
            </a:r>
          </a:p>
        </p:txBody>
      </p:sp>
      <p:sp>
        <p:nvSpPr>
          <p:cNvPr id="31" name="Rectangle 30"/>
          <p:cNvSpPr/>
          <p:nvPr userDrawn="1"/>
        </p:nvSpPr>
        <p:spPr>
          <a:xfrm>
            <a:off x="8903495" y="4863225"/>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40"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42"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a:latin typeface="Arial" panose="020B0604020202020204" pitchFamily="34" charset="0"/>
              <a:cs typeface="Arial" panose="020B0604020202020204" pitchFamily="34" charset="0"/>
              <a:sym typeface="Arial"/>
            </a:endParaRPr>
          </a:p>
        </p:txBody>
      </p:sp>
      <p:sp>
        <p:nvSpPr>
          <p:cNvPr id="6" name="Text Placeholder 5">
            <a:extLst>
              <a:ext uri="{FF2B5EF4-FFF2-40B4-BE49-F238E27FC236}">
                <a16:creationId xmlns:a16="http://schemas.microsoft.com/office/drawing/2014/main" id="{715092BE-3290-4B93-9EAE-A479B5C7B2D6}"/>
              </a:ext>
            </a:extLst>
          </p:cNvPr>
          <p:cNvSpPr>
            <a:spLocks noGrp="1"/>
          </p:cNvSpPr>
          <p:nvPr>
            <p:ph type="body" sz="quarter" idx="13"/>
          </p:nvPr>
        </p:nvSpPr>
        <p:spPr>
          <a:xfrm>
            <a:off x="263526" y="1669250"/>
            <a:ext cx="8605838" cy="3081528"/>
          </a:xfrm>
          <a:prstGeom prst="rect">
            <a:avLst/>
          </a:prstGeom>
        </p:spPr>
        <p:txBody>
          <a:bodyPr/>
          <a:lstStyle>
            <a:lvl1pPr marL="166684" indent="-166684">
              <a:defRPr sz="1100">
                <a:latin typeface="Arial" panose="020B0604020202020204" pitchFamily="34" charset="0"/>
                <a:cs typeface="Arial" panose="020B0604020202020204" pitchFamily="34" charset="0"/>
              </a:defRPr>
            </a:lvl1pPr>
            <a:lvl2pPr marL="401628" indent="-174621">
              <a:defRPr sz="1000">
                <a:latin typeface="Arial" panose="020B0604020202020204" pitchFamily="34" charset="0"/>
                <a:cs typeface="Arial" panose="020B0604020202020204" pitchFamily="34" charset="0"/>
              </a:defRPr>
            </a:lvl2pPr>
            <a:lvl3pPr marL="623873" indent="-171446">
              <a:defRPr sz="900">
                <a:latin typeface="Arial" panose="020B0604020202020204" pitchFamily="34" charset="0"/>
                <a:cs typeface="Arial" panose="020B0604020202020204" pitchFamily="34" charset="0"/>
              </a:defRPr>
            </a:lvl3pPr>
            <a:lvl4pPr marL="858817" indent="-171446">
              <a:defRPr sz="900">
                <a:latin typeface="Arial" panose="020B0604020202020204" pitchFamily="34" charset="0"/>
                <a:cs typeface="Arial" panose="020B0604020202020204" pitchFamily="34" charset="0"/>
              </a:defRPr>
            </a:lvl4pPr>
            <a:lvl5pPr marL="1081061" indent="-171446">
              <a:defRPr sz="9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901787"/>
      </p:ext>
    </p:extLst>
  </p:cSld>
  <p:clrMapOvr>
    <a:masterClrMapping/>
  </p:clrMapOvr>
  <p:extLst mod="1">
    <p:ext uri="{DCECCB84-F9BA-43D5-87BE-67443E8EF086}">
      <p15:sldGuideLst xmlns:p15="http://schemas.microsoft.com/office/powerpoint/2012/main">
        <p15:guide id="1" orient="horz" pos="1620">
          <p15:clr>
            <a:srgbClr val="FBAE40"/>
          </p15:clr>
        </p15:guide>
        <p15:guide id="2" pos="168">
          <p15:clr>
            <a:srgbClr val="FBAE40"/>
          </p15:clr>
        </p15:guide>
        <p15:guide id="3" pos="55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Red option 1 (add own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AB734E-09E2-4C5B-B359-F44C155BFDAF}"/>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Picture Placeholder 13"/>
          <p:cNvSpPr>
            <a:spLocks noGrp="1"/>
          </p:cNvSpPr>
          <p:nvPr>
            <p:ph type="pic" sz="quarter" idx="12"/>
          </p:nvPr>
        </p:nvSpPr>
        <p:spPr>
          <a:xfrm>
            <a:off x="4587876" y="0"/>
            <a:ext cx="4556125" cy="5143500"/>
          </a:xfrm>
          <a:prstGeom prst="rect">
            <a:avLst/>
          </a:prstGeom>
          <a:solidFill>
            <a:schemeClr val="bg1">
              <a:lumMod val="85000"/>
            </a:schemeClr>
          </a:solidFill>
        </p:spPr>
        <p:txBody>
          <a:bodyPr anchor="ctr" anchorCtr="0"/>
          <a:lstStyle>
            <a:lvl1pPr marL="0" indent="0" algn="ctr">
              <a:buNone/>
              <a:defRPr/>
            </a:lvl1pPr>
          </a:lstStyle>
          <a:p>
            <a:pPr lvl="0"/>
            <a:r>
              <a:rPr lang="en-US" noProof="0"/>
              <a:t>Click icon to add picture</a:t>
            </a:r>
            <a:endParaRPr lang="en-US" noProof="0"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latin typeface="+mj-lt"/>
                <a:cs typeface="Arial" panose="020B0604020202020204" pitchFamily="34" charset="0"/>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dirty="0"/>
              <a:t>Click to edit Master text styles</a:t>
            </a:r>
          </a:p>
          <a:p>
            <a:pPr lvl="1"/>
            <a:r>
              <a:rPr lang="en-US" dirty="0"/>
              <a:t>Second level</a:t>
            </a:r>
          </a:p>
          <a:p>
            <a:pPr lvl="2"/>
            <a:r>
              <a:rPr lang="en-US" dirty="0"/>
              <a:t>Third level</a:t>
            </a:r>
          </a:p>
        </p:txBody>
      </p:sp>
      <p:pic>
        <p:nvPicPr>
          <p:cNvPr id="15" name="Picture 14" descr="A close up of a logo&#10;&#10;Description automatically generated">
            <a:extLst>
              <a:ext uri="{FF2B5EF4-FFF2-40B4-BE49-F238E27FC236}">
                <a16:creationId xmlns:a16="http://schemas.microsoft.com/office/drawing/2014/main" id="{FA42B4BB-E4AF-4E77-8720-34E6A0B4EC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spTree>
    <p:extLst>
      <p:ext uri="{BB962C8B-B14F-4D97-AF65-F5344CB8AC3E}">
        <p14:creationId xmlns:p14="http://schemas.microsoft.com/office/powerpoint/2010/main" val="3203228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10"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1" name="Picture 10" descr="A view of a city street&#10;&#10;Description automatically generated">
            <a:extLst>
              <a:ext uri="{FF2B5EF4-FFF2-40B4-BE49-F238E27FC236}">
                <a16:creationId xmlns:a16="http://schemas.microsoft.com/office/drawing/2014/main" id="{2B220021-3B22-7E45-9076-398C1519C9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87877" y="0"/>
            <a:ext cx="4576226" cy="5143500"/>
          </a:xfrm>
          <a:prstGeom prst="rect">
            <a:avLst/>
          </a:prstGeom>
        </p:spPr>
      </p:pic>
    </p:spTree>
    <p:extLst>
      <p:ext uri="{BB962C8B-B14F-4D97-AF65-F5344CB8AC3E}">
        <p14:creationId xmlns:p14="http://schemas.microsoft.com/office/powerpoint/2010/main" val="26573329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9" name="Picture 8" descr="A picture containing outdoor, tree, sky, grass&#10;&#10;Description automatically generated">
            <a:extLst>
              <a:ext uri="{FF2B5EF4-FFF2-40B4-BE49-F238E27FC236}">
                <a16:creationId xmlns:a16="http://schemas.microsoft.com/office/drawing/2014/main" id="{8900E50B-2392-CD4C-BA60-1A5D1F6E0E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67771" y="0"/>
            <a:ext cx="4567509" cy="5143500"/>
          </a:xfrm>
          <a:prstGeom prst="rect">
            <a:avLst/>
          </a:prstGeom>
        </p:spPr>
      </p:pic>
    </p:spTree>
    <p:extLst>
      <p:ext uri="{BB962C8B-B14F-4D97-AF65-F5344CB8AC3E}">
        <p14:creationId xmlns:p14="http://schemas.microsoft.com/office/powerpoint/2010/main" val="13846286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1" name="Picture 10" descr="A picture containing building, outdoor&#10;&#10;Description automatically generated">
            <a:extLst>
              <a:ext uri="{FF2B5EF4-FFF2-40B4-BE49-F238E27FC236}">
                <a16:creationId xmlns:a16="http://schemas.microsoft.com/office/drawing/2014/main" id="{7F04E902-5E8F-2341-BD2B-645DFE5A032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0" y="0"/>
            <a:ext cx="4572000" cy="5156444"/>
          </a:xfrm>
          <a:prstGeom prst="rect">
            <a:avLst/>
          </a:prstGeom>
        </p:spPr>
      </p:pic>
    </p:spTree>
    <p:extLst>
      <p:ext uri="{BB962C8B-B14F-4D97-AF65-F5344CB8AC3E}">
        <p14:creationId xmlns:p14="http://schemas.microsoft.com/office/powerpoint/2010/main" val="25988050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1" name="Picture 10" descr="A picture containing wall, indoor, ceiling, floor&#10;&#10;Description automatically generated">
            <a:extLst>
              <a:ext uri="{FF2B5EF4-FFF2-40B4-BE49-F238E27FC236}">
                <a16:creationId xmlns:a16="http://schemas.microsoft.com/office/drawing/2014/main" id="{A0E5CEAC-0663-5246-91BD-F5AF7EAADAD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53337" y="0"/>
            <a:ext cx="4708429" cy="5173957"/>
          </a:xfrm>
          <a:prstGeom prst="rect">
            <a:avLst/>
          </a:prstGeom>
        </p:spPr>
      </p:pic>
    </p:spTree>
    <p:extLst>
      <p:ext uri="{BB962C8B-B14F-4D97-AF65-F5344CB8AC3E}">
        <p14:creationId xmlns:p14="http://schemas.microsoft.com/office/powerpoint/2010/main" val="3311937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1" name="Picture 10" descr="A view of a large building&#10;&#10;Description automatically generated">
            <a:extLst>
              <a:ext uri="{FF2B5EF4-FFF2-40B4-BE49-F238E27FC236}">
                <a16:creationId xmlns:a16="http://schemas.microsoft.com/office/drawing/2014/main" id="{B1EF443F-1551-0648-BE62-2C268A5287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53334" y="0"/>
            <a:ext cx="4690665" cy="5143500"/>
          </a:xfrm>
          <a:prstGeom prst="rect">
            <a:avLst/>
          </a:prstGeom>
        </p:spPr>
      </p:pic>
    </p:spTree>
    <p:extLst>
      <p:ext uri="{BB962C8B-B14F-4D97-AF65-F5344CB8AC3E}">
        <p14:creationId xmlns:p14="http://schemas.microsoft.com/office/powerpoint/2010/main" val="105438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page with image behi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7C3F17C-0B28-9644-9AC2-BAFCFAAD1C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7" name="Rectangle 6">
            <a:extLst>
              <a:ext uri="{FF2B5EF4-FFF2-40B4-BE49-F238E27FC236}">
                <a16:creationId xmlns:a16="http://schemas.microsoft.com/office/drawing/2014/main" id="{21E33F04-2D7E-B147-9878-4BF69AE0D5BB}"/>
              </a:ext>
            </a:extLst>
          </p:cNvPr>
          <p:cNvSpPr/>
          <p:nvPr userDrawn="1"/>
        </p:nvSpPr>
        <p:spPr>
          <a:xfrm>
            <a:off x="0" y="0"/>
            <a:ext cx="9144000" cy="3018889"/>
          </a:xfrm>
          <a:prstGeom prst="rect">
            <a:avLst/>
          </a:prstGeom>
          <a:gradFill>
            <a:gsLst>
              <a:gs pos="0">
                <a:schemeClr val="bg1">
                  <a:alpha val="0"/>
                </a:schemeClr>
              </a:gs>
              <a:gs pos="49000">
                <a:schemeClr val="bg1">
                  <a:alpha val="58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8"/>
          <p:cNvSpPr>
            <a:spLocks noGrp="1"/>
          </p:cNvSpPr>
          <p:nvPr>
            <p:ph type="title" hasCustomPrompt="1"/>
          </p:nvPr>
        </p:nvSpPr>
        <p:spPr>
          <a:xfrm>
            <a:off x="358775" y="385420"/>
            <a:ext cx="8430293" cy="531455"/>
          </a:xfrm>
        </p:spPr>
        <p:txBody>
          <a:bodyPr anchor="t"/>
          <a:lstStyle>
            <a:lvl1pPr algn="ctr">
              <a:defRPr sz="2200">
                <a:solidFill>
                  <a:srgbClr val="E64626"/>
                </a:solidFill>
              </a:defRPr>
            </a:lvl1pPr>
          </a:lstStyle>
          <a:p>
            <a:r>
              <a:rPr lang="en-US" dirty="0"/>
              <a:t>Title heading here</a:t>
            </a:r>
          </a:p>
        </p:txBody>
      </p:sp>
      <p:sp>
        <p:nvSpPr>
          <p:cNvPr id="16" name="Text Placeholder 4"/>
          <p:cNvSpPr>
            <a:spLocks noGrp="1"/>
          </p:cNvSpPr>
          <p:nvPr>
            <p:ph type="body" sz="quarter" idx="13" hasCustomPrompt="1"/>
          </p:nvPr>
        </p:nvSpPr>
        <p:spPr>
          <a:xfrm>
            <a:off x="358775" y="789644"/>
            <a:ext cx="8430293"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47768" y="1448330"/>
            <a:ext cx="1848464" cy="639366"/>
          </a:xfrm>
          <a:prstGeom prst="rect">
            <a:avLst/>
          </a:prstGeom>
        </p:spPr>
      </p:pic>
    </p:spTree>
    <p:extLst>
      <p:ext uri="{BB962C8B-B14F-4D97-AF65-F5344CB8AC3E}">
        <p14:creationId xmlns:p14="http://schemas.microsoft.com/office/powerpoint/2010/main" val="8224840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2" name="Picture 11" descr="A view of a large window&#10;&#10;Description automatically generated">
            <a:extLst>
              <a:ext uri="{FF2B5EF4-FFF2-40B4-BE49-F238E27FC236}">
                <a16:creationId xmlns:a16="http://schemas.microsoft.com/office/drawing/2014/main" id="{420423EE-BBB8-3641-9440-EA11434269F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87877" y="-1"/>
            <a:ext cx="4567509" cy="5143500"/>
          </a:xfrm>
          <a:prstGeom prst="rect">
            <a:avLst/>
          </a:prstGeom>
        </p:spPr>
      </p:pic>
    </p:spTree>
    <p:extLst>
      <p:ext uri="{BB962C8B-B14F-4D97-AF65-F5344CB8AC3E}">
        <p14:creationId xmlns:p14="http://schemas.microsoft.com/office/powerpoint/2010/main" val="31845267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2" name="Picture 11" descr="A bench in front of a building&#10;&#10;Description automatically generated">
            <a:extLst>
              <a:ext uri="{FF2B5EF4-FFF2-40B4-BE49-F238E27FC236}">
                <a16:creationId xmlns:a16="http://schemas.microsoft.com/office/drawing/2014/main" id="{9DA25CDA-EEDD-A747-B55E-843FD2345DE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014"/>
          <a:stretch/>
        </p:blipFill>
        <p:spPr>
          <a:xfrm>
            <a:off x="4567770" y="-1"/>
            <a:ext cx="4576230" cy="5351565"/>
          </a:xfrm>
          <a:prstGeom prst="rect">
            <a:avLst/>
          </a:prstGeom>
        </p:spPr>
      </p:pic>
    </p:spTree>
    <p:extLst>
      <p:ext uri="{BB962C8B-B14F-4D97-AF65-F5344CB8AC3E}">
        <p14:creationId xmlns:p14="http://schemas.microsoft.com/office/powerpoint/2010/main" val="12173079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4587876" cy="51435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dirty="0"/>
              <a:t>Click to edit Master title style</a:t>
            </a:r>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1" name="Picture 10" descr="A close up of a brick building&#10;&#10;Description automatically generated">
            <a:extLst>
              <a:ext uri="{FF2B5EF4-FFF2-40B4-BE49-F238E27FC236}">
                <a16:creationId xmlns:a16="http://schemas.microsoft.com/office/drawing/2014/main" id="{42F16A81-DDB6-9744-A640-ECE9CE4414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87877" y="-1"/>
            <a:ext cx="4573835" cy="5185497"/>
          </a:xfrm>
          <a:prstGeom prst="rect">
            <a:avLst/>
          </a:prstGeom>
        </p:spPr>
      </p:pic>
    </p:spTree>
    <p:extLst>
      <p:ext uri="{BB962C8B-B14F-4D97-AF65-F5344CB8AC3E}">
        <p14:creationId xmlns:p14="http://schemas.microsoft.com/office/powerpoint/2010/main" val="27914575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 Red option 4">
    <p:spTree>
      <p:nvGrpSpPr>
        <p:cNvPr id="1" name=""/>
        <p:cNvGrpSpPr/>
        <p:nvPr/>
      </p:nvGrpSpPr>
      <p:grpSpPr>
        <a:xfrm>
          <a:off x="0" y="0"/>
          <a:ext cx="0" cy="0"/>
          <a:chOff x="0" y="0"/>
          <a:chExt cx="0" cy="0"/>
        </a:xfrm>
      </p:grpSpPr>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a:t>Click to edit Master title style</a:t>
            </a:r>
            <a:endParaRPr lang="en-US" dirty="0"/>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1" name="Picture 10" descr="A close up of a logo&#10;&#10;Description automatically generated">
            <a:extLst>
              <a:ext uri="{FF2B5EF4-FFF2-40B4-BE49-F238E27FC236}">
                <a16:creationId xmlns:a16="http://schemas.microsoft.com/office/drawing/2014/main" id="{01474F3C-BF30-4838-BE7E-29B6762A03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0" name="Picture 9" descr="A picture containing building, outdoor&#10;&#10;Description automatically generated">
            <a:extLst>
              <a:ext uri="{FF2B5EF4-FFF2-40B4-BE49-F238E27FC236}">
                <a16:creationId xmlns:a16="http://schemas.microsoft.com/office/drawing/2014/main" id="{39EDEF0E-237F-6F49-A871-2C910D1EFA1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0" y="0"/>
            <a:ext cx="4572000" cy="5156444"/>
          </a:xfrm>
          <a:prstGeom prst="rect">
            <a:avLst/>
          </a:prstGeom>
        </p:spPr>
      </p:pic>
    </p:spTree>
    <p:extLst>
      <p:ext uri="{BB962C8B-B14F-4D97-AF65-F5344CB8AC3E}">
        <p14:creationId xmlns:p14="http://schemas.microsoft.com/office/powerpoint/2010/main" val="31288232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_Title slide – Red option 4">
    <p:spTree>
      <p:nvGrpSpPr>
        <p:cNvPr id="1" name=""/>
        <p:cNvGrpSpPr/>
        <p:nvPr/>
      </p:nvGrpSpPr>
      <p:grpSpPr>
        <a:xfrm>
          <a:off x="0" y="0"/>
          <a:ext cx="0" cy="0"/>
          <a:chOff x="0" y="0"/>
          <a:chExt cx="0" cy="0"/>
        </a:xfrm>
      </p:grpSpPr>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a:t>Click to edit Master title style</a:t>
            </a:r>
            <a:endParaRPr lang="en-US" dirty="0"/>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1" name="Picture 10" descr="A close up of a logo&#10;&#10;Description automatically generated">
            <a:extLst>
              <a:ext uri="{FF2B5EF4-FFF2-40B4-BE49-F238E27FC236}">
                <a16:creationId xmlns:a16="http://schemas.microsoft.com/office/drawing/2014/main" id="{01474F3C-BF30-4838-BE7E-29B6762A03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0" name="Picture 9" descr="A picture containing building, outdoor&#10;&#10;Description automatically generated">
            <a:extLst>
              <a:ext uri="{FF2B5EF4-FFF2-40B4-BE49-F238E27FC236}">
                <a16:creationId xmlns:a16="http://schemas.microsoft.com/office/drawing/2014/main" id="{39EDEF0E-237F-6F49-A871-2C910D1EFA1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0" y="0"/>
            <a:ext cx="4572000" cy="5156444"/>
          </a:xfrm>
          <a:prstGeom prst="rect">
            <a:avLst/>
          </a:prstGeom>
        </p:spPr>
      </p:pic>
      <p:pic>
        <p:nvPicPr>
          <p:cNvPr id="12" name="Picture 11" descr="A picture containing wooden, indoor, building, floor&#10;&#10;Description automatically generated">
            <a:extLst>
              <a:ext uri="{FF2B5EF4-FFF2-40B4-BE49-F238E27FC236}">
                <a16:creationId xmlns:a16="http://schemas.microsoft.com/office/drawing/2014/main" id="{A5010B32-7C91-414A-9463-50EDA9DDD9C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572000" y="0"/>
            <a:ext cx="4575572" cy="5143500"/>
          </a:xfrm>
          <a:prstGeom prst="rect">
            <a:avLst/>
          </a:prstGeom>
        </p:spPr>
      </p:pic>
    </p:spTree>
    <p:extLst>
      <p:ext uri="{BB962C8B-B14F-4D97-AF65-F5344CB8AC3E}">
        <p14:creationId xmlns:p14="http://schemas.microsoft.com/office/powerpoint/2010/main" val="31245975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slide – Red option 4">
    <p:spTree>
      <p:nvGrpSpPr>
        <p:cNvPr id="1" name=""/>
        <p:cNvGrpSpPr/>
        <p:nvPr/>
      </p:nvGrpSpPr>
      <p:grpSpPr>
        <a:xfrm>
          <a:off x="0" y="0"/>
          <a:ext cx="0" cy="0"/>
          <a:chOff x="0" y="0"/>
          <a:chExt cx="0" cy="0"/>
        </a:xfrm>
      </p:grpSpPr>
      <p:sp>
        <p:nvSpPr>
          <p:cNvPr id="7"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a:t>Click to edit Master title style</a:t>
            </a:r>
            <a:endParaRPr lang="en-US" dirty="0"/>
          </a:p>
        </p:txBody>
      </p:sp>
      <p:sp>
        <p:nvSpPr>
          <p:cNvPr id="8"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B27217AD-F199-408C-87CD-6B9EAF7277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12" name="Picture 11" descr="A close up of a device&#10;&#10;Description automatically generated">
            <a:extLst>
              <a:ext uri="{FF2B5EF4-FFF2-40B4-BE49-F238E27FC236}">
                <a16:creationId xmlns:a16="http://schemas.microsoft.com/office/drawing/2014/main" id="{B96438B9-5925-5042-9335-CD7B46F25C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53337" y="1"/>
            <a:ext cx="4708429" cy="5143499"/>
          </a:xfrm>
          <a:prstGeom prst="rect">
            <a:avLst/>
          </a:prstGeom>
        </p:spPr>
      </p:pic>
    </p:spTree>
    <p:extLst>
      <p:ext uri="{BB962C8B-B14F-4D97-AF65-F5344CB8AC3E}">
        <p14:creationId xmlns:p14="http://schemas.microsoft.com/office/powerpoint/2010/main" val="10061231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Red option 5 (no image)">
    <p:spTree>
      <p:nvGrpSpPr>
        <p:cNvPr id="1" name=""/>
        <p:cNvGrpSpPr/>
        <p:nvPr/>
      </p:nvGrpSpPr>
      <p:grpSpPr>
        <a:xfrm>
          <a:off x="0" y="0"/>
          <a:ext cx="0" cy="0"/>
          <a:chOff x="0" y="0"/>
          <a:chExt cx="0" cy="0"/>
        </a:xfrm>
      </p:grpSpPr>
      <p:sp>
        <p:nvSpPr>
          <p:cNvPr id="12" name="Title 8"/>
          <p:cNvSpPr>
            <a:spLocks noGrp="1"/>
          </p:cNvSpPr>
          <p:nvPr>
            <p:ph type="title"/>
          </p:nvPr>
        </p:nvSpPr>
        <p:spPr>
          <a:xfrm>
            <a:off x="381884" y="1348199"/>
            <a:ext cx="3948874" cy="992229"/>
          </a:xfrm>
          <a:prstGeom prst="rect">
            <a:avLst/>
          </a:prstGeom>
        </p:spPr>
        <p:txBody>
          <a:bodyPr anchor="t"/>
          <a:lstStyle>
            <a:lvl1pPr>
              <a:defRPr sz="2000">
                <a:solidFill>
                  <a:schemeClr val="bg1"/>
                </a:solidFill>
              </a:defRPr>
            </a:lvl1pPr>
          </a:lstStyle>
          <a:p>
            <a:r>
              <a:rPr lang="en-US"/>
              <a:t>Click to edit Master title style</a:t>
            </a:r>
            <a:endParaRPr lang="en-US" dirty="0"/>
          </a:p>
        </p:txBody>
      </p:sp>
      <p:sp>
        <p:nvSpPr>
          <p:cNvPr id="13"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6" name="Picture 5" descr="A close up of a logo&#10;&#10;Description automatically generated">
            <a:extLst>
              <a:ext uri="{FF2B5EF4-FFF2-40B4-BE49-F238E27FC236}">
                <a16:creationId xmlns:a16="http://schemas.microsoft.com/office/drawing/2014/main" id="{8EA2DDC0-E24B-44C0-A773-C0BEC90B3B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5" name="Picture 4" descr="A large brick building with many windows&#10;&#10;Description automatically generated">
            <a:extLst>
              <a:ext uri="{FF2B5EF4-FFF2-40B4-BE49-F238E27FC236}">
                <a16:creationId xmlns:a16="http://schemas.microsoft.com/office/drawing/2014/main" id="{D9DB67EB-CF0D-4447-8C77-9CD316FB6FB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91" t="-1"/>
          <a:stretch/>
        </p:blipFill>
        <p:spPr>
          <a:xfrm>
            <a:off x="4567773" y="-1"/>
            <a:ext cx="4576228" cy="5143501"/>
          </a:xfrm>
          <a:prstGeom prst="rect">
            <a:avLst/>
          </a:prstGeom>
        </p:spPr>
      </p:pic>
    </p:spTree>
    <p:extLst>
      <p:ext uri="{BB962C8B-B14F-4D97-AF65-F5344CB8AC3E}">
        <p14:creationId xmlns:p14="http://schemas.microsoft.com/office/powerpoint/2010/main" val="38093510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 White option 2">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11"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8" name="Picture 7" descr="A close up of a logo&#10;&#10;Description automatically generated">
            <a:extLst>
              <a:ext uri="{FF2B5EF4-FFF2-40B4-BE49-F238E27FC236}">
                <a16:creationId xmlns:a16="http://schemas.microsoft.com/office/drawing/2014/main" id="{401895F3-6600-4703-81D0-F9299C9F68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9" name="Picture 8" descr="An old stone building&#10;&#10;Description automatically generated">
            <a:extLst>
              <a:ext uri="{FF2B5EF4-FFF2-40B4-BE49-F238E27FC236}">
                <a16:creationId xmlns:a16="http://schemas.microsoft.com/office/drawing/2014/main" id="{D6DC994B-465B-994A-9B9B-E5E79BD746A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4194" r="-2755" b="-1"/>
          <a:stretch/>
        </p:blipFill>
        <p:spPr>
          <a:xfrm rot="16200000">
            <a:off x="4271322" y="417658"/>
            <a:ext cx="4636786" cy="4181477"/>
          </a:xfrm>
          <a:prstGeom prst="rect">
            <a:avLst/>
          </a:prstGeom>
        </p:spPr>
      </p:pic>
    </p:spTree>
    <p:extLst>
      <p:ext uri="{BB962C8B-B14F-4D97-AF65-F5344CB8AC3E}">
        <p14:creationId xmlns:p14="http://schemas.microsoft.com/office/powerpoint/2010/main" val="32964312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White option 3">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11"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8" name="Picture 7" descr="A close up of a logo&#10;&#10;Description automatically generated">
            <a:extLst>
              <a:ext uri="{FF2B5EF4-FFF2-40B4-BE49-F238E27FC236}">
                <a16:creationId xmlns:a16="http://schemas.microsoft.com/office/drawing/2014/main" id="{E53D6B9D-DA9F-4DBB-A832-ADED78BEAC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9" name="Picture 8" descr="A picture containing building, indoor, wall&#10;&#10;Description automatically generated">
            <a:extLst>
              <a:ext uri="{FF2B5EF4-FFF2-40B4-BE49-F238E27FC236}">
                <a16:creationId xmlns:a16="http://schemas.microsoft.com/office/drawing/2014/main" id="{27B1F5B5-4B41-1F49-88EB-D146DE7759A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45025" y="314325"/>
            <a:ext cx="4035426" cy="4512469"/>
          </a:xfrm>
          <a:prstGeom prst="rect">
            <a:avLst/>
          </a:prstGeom>
        </p:spPr>
      </p:pic>
    </p:spTree>
    <p:extLst>
      <p:ext uri="{BB962C8B-B14F-4D97-AF65-F5344CB8AC3E}">
        <p14:creationId xmlns:p14="http://schemas.microsoft.com/office/powerpoint/2010/main" val="11116389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White option 4">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11"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8" name="Picture 7" descr="A close up of a logo&#10;&#10;Description automatically generated">
            <a:extLst>
              <a:ext uri="{FF2B5EF4-FFF2-40B4-BE49-F238E27FC236}">
                <a16:creationId xmlns:a16="http://schemas.microsoft.com/office/drawing/2014/main" id="{A9AC8E03-D9CF-4419-A394-1206FE312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7" name="Picture 6" descr="A person standing in front of a building&#10;&#10;Description automatically generated">
            <a:extLst>
              <a:ext uri="{FF2B5EF4-FFF2-40B4-BE49-F238E27FC236}">
                <a16:creationId xmlns:a16="http://schemas.microsoft.com/office/drawing/2014/main" id="{41A14488-47A9-A945-B125-A2DF5ABC69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45025" y="314325"/>
            <a:ext cx="4035426" cy="4512469"/>
          </a:xfrm>
          <a:prstGeom prst="rect">
            <a:avLst/>
          </a:prstGeom>
        </p:spPr>
      </p:pic>
    </p:spTree>
    <p:extLst>
      <p:ext uri="{BB962C8B-B14F-4D97-AF65-F5344CB8AC3E}">
        <p14:creationId xmlns:p14="http://schemas.microsoft.com/office/powerpoint/2010/main" val="1827678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page with image behind">
    <p:spTree>
      <p:nvGrpSpPr>
        <p:cNvPr id="1" name=""/>
        <p:cNvGrpSpPr/>
        <p:nvPr/>
      </p:nvGrpSpPr>
      <p:grpSpPr>
        <a:xfrm>
          <a:off x="0" y="0"/>
          <a:ext cx="0" cy="0"/>
          <a:chOff x="0" y="0"/>
          <a:chExt cx="0" cy="0"/>
        </a:xfrm>
      </p:grpSpPr>
      <p:pic>
        <p:nvPicPr>
          <p:cNvPr id="6" name="Picture 5" descr="A view of a city street&#10;&#10;Description automatically generated">
            <a:extLst>
              <a:ext uri="{FF2B5EF4-FFF2-40B4-BE49-F238E27FC236}">
                <a16:creationId xmlns:a16="http://schemas.microsoft.com/office/drawing/2014/main" id="{15875608-8BB1-6048-AF76-04F7E5846BE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itle 8"/>
          <p:cNvSpPr>
            <a:spLocks noGrp="1"/>
          </p:cNvSpPr>
          <p:nvPr>
            <p:ph type="title" hasCustomPrompt="1"/>
          </p:nvPr>
        </p:nvSpPr>
        <p:spPr>
          <a:xfrm>
            <a:off x="358775" y="385420"/>
            <a:ext cx="8430293" cy="531455"/>
          </a:xfrm>
        </p:spPr>
        <p:txBody>
          <a:bodyPr anchor="t"/>
          <a:lstStyle>
            <a:lvl1pPr algn="ctr">
              <a:defRPr sz="2200">
                <a:solidFill>
                  <a:srgbClr val="E64626"/>
                </a:solidFill>
              </a:defRPr>
            </a:lvl1pPr>
          </a:lstStyle>
          <a:p>
            <a:r>
              <a:rPr lang="en-US" dirty="0"/>
              <a:t>Title heading here</a:t>
            </a:r>
          </a:p>
        </p:txBody>
      </p:sp>
      <p:sp>
        <p:nvSpPr>
          <p:cNvPr id="16" name="Text Placeholder 4"/>
          <p:cNvSpPr>
            <a:spLocks noGrp="1"/>
          </p:cNvSpPr>
          <p:nvPr>
            <p:ph type="body" sz="quarter" idx="13" hasCustomPrompt="1"/>
          </p:nvPr>
        </p:nvSpPr>
        <p:spPr>
          <a:xfrm>
            <a:off x="358775" y="995844"/>
            <a:ext cx="8430293"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47768" y="1527299"/>
            <a:ext cx="1848464" cy="639366"/>
          </a:xfrm>
          <a:prstGeom prst="rect">
            <a:avLst/>
          </a:prstGeom>
        </p:spPr>
      </p:pic>
    </p:spTree>
    <p:extLst>
      <p:ext uri="{BB962C8B-B14F-4D97-AF65-F5344CB8AC3E}">
        <p14:creationId xmlns:p14="http://schemas.microsoft.com/office/powerpoint/2010/main" val="13840149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White option 5 (no image)">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11"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7" name="Picture 6" descr="A close up of a logo&#10;&#10;Description automatically generated">
            <a:extLst>
              <a:ext uri="{FF2B5EF4-FFF2-40B4-BE49-F238E27FC236}">
                <a16:creationId xmlns:a16="http://schemas.microsoft.com/office/drawing/2014/main" id="{396E9556-837F-4DA9-91CD-BD19A69947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6" name="Picture 5" descr="A sign on the side of a building&#10;&#10;Description automatically generated">
            <a:extLst>
              <a:ext uri="{FF2B5EF4-FFF2-40B4-BE49-F238E27FC236}">
                <a16:creationId xmlns:a16="http://schemas.microsoft.com/office/drawing/2014/main" id="{5930A8DD-DC0F-AD49-94A8-52E7C1C378B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45023" y="314325"/>
            <a:ext cx="4035427" cy="4512469"/>
          </a:xfrm>
          <a:prstGeom prst="rect">
            <a:avLst/>
          </a:prstGeom>
        </p:spPr>
      </p:pic>
    </p:spTree>
    <p:extLst>
      <p:ext uri="{BB962C8B-B14F-4D97-AF65-F5344CB8AC3E}">
        <p14:creationId xmlns:p14="http://schemas.microsoft.com/office/powerpoint/2010/main" val="17052979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 White option 5 (no image)">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11"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7" name="Picture 6" descr="A close up of a logo&#10;&#10;Description automatically generated">
            <a:extLst>
              <a:ext uri="{FF2B5EF4-FFF2-40B4-BE49-F238E27FC236}">
                <a16:creationId xmlns:a16="http://schemas.microsoft.com/office/drawing/2014/main" id="{396E9556-837F-4DA9-91CD-BD19A69947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pic>
        <p:nvPicPr>
          <p:cNvPr id="9" name="Picture 8" descr="A picture containing indoor, cabinet, wall&#10;&#10;Description automatically generated">
            <a:extLst>
              <a:ext uri="{FF2B5EF4-FFF2-40B4-BE49-F238E27FC236}">
                <a16:creationId xmlns:a16="http://schemas.microsoft.com/office/drawing/2014/main" id="{89702472-5231-D549-9CEF-FFE6B3F4016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45023" y="314326"/>
            <a:ext cx="4035427" cy="4512468"/>
          </a:xfrm>
          <a:prstGeom prst="rect">
            <a:avLst/>
          </a:prstGeom>
        </p:spPr>
      </p:pic>
    </p:spTree>
    <p:extLst>
      <p:ext uri="{BB962C8B-B14F-4D97-AF65-F5344CB8AC3E}">
        <p14:creationId xmlns:p14="http://schemas.microsoft.com/office/powerpoint/2010/main" val="18553014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White option 1 (add own image)">
    <p:spTree>
      <p:nvGrpSpPr>
        <p:cNvPr id="1" name=""/>
        <p:cNvGrpSpPr/>
        <p:nvPr/>
      </p:nvGrpSpPr>
      <p:grpSpPr>
        <a:xfrm>
          <a:off x="0" y="0"/>
          <a:ext cx="0" cy="0"/>
          <a:chOff x="0" y="0"/>
          <a:chExt cx="0" cy="0"/>
        </a:xfrm>
      </p:grpSpPr>
      <p:sp>
        <p:nvSpPr>
          <p:cNvPr id="6" name="Rectangle 5"/>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Picture Placeholder 13"/>
          <p:cNvSpPr>
            <a:spLocks noGrp="1"/>
          </p:cNvSpPr>
          <p:nvPr>
            <p:ph type="pic" sz="quarter" idx="12"/>
          </p:nvPr>
        </p:nvSpPr>
        <p:spPr>
          <a:xfrm>
            <a:off x="4587876" y="313766"/>
            <a:ext cx="4150358" cy="4513166"/>
          </a:xfrm>
          <a:prstGeom prst="rect">
            <a:avLst/>
          </a:prstGeom>
          <a:solidFill>
            <a:schemeClr val="bg1">
              <a:lumMod val="85000"/>
            </a:schemeClr>
          </a:solidFill>
          <a:ln>
            <a:noFill/>
          </a:ln>
        </p:spPr>
        <p:txBody>
          <a:bodyPr anchor="ctr" anchorCtr="0"/>
          <a:lstStyle>
            <a:lvl1pPr marL="0" indent="0" algn="ctr">
              <a:buNone/>
              <a:defRPr/>
            </a:lvl1pPr>
          </a:lstStyle>
          <a:p>
            <a:pPr lvl="0"/>
            <a:r>
              <a:rPr lang="en-US" noProof="0"/>
              <a:t>Click icon to add picture</a:t>
            </a:r>
            <a:endParaRPr lang="en-US" noProof="0" dirty="0"/>
          </a:p>
        </p:txBody>
      </p:sp>
      <p:sp>
        <p:nvSpPr>
          <p:cNvPr id="8" name="Title 8"/>
          <p:cNvSpPr>
            <a:spLocks noGrp="1"/>
          </p:cNvSpPr>
          <p:nvPr>
            <p:ph type="title"/>
          </p:nvPr>
        </p:nvSpPr>
        <p:spPr>
          <a:xfrm>
            <a:off x="381884" y="1348199"/>
            <a:ext cx="3948874" cy="992229"/>
          </a:xfrm>
          <a:prstGeom prst="rect">
            <a:avLst/>
          </a:prstGeom>
        </p:spPr>
        <p:txBody>
          <a:bodyPr anchor="t"/>
          <a:lstStyle>
            <a:lvl1pPr>
              <a:defRPr sz="2000">
                <a:solidFill>
                  <a:schemeClr val="accent1"/>
                </a:solidFill>
              </a:defRPr>
            </a:lvl1pPr>
          </a:lstStyle>
          <a:p>
            <a:r>
              <a:rPr lang="en-US"/>
              <a:t>Click to edit Master title style</a:t>
            </a:r>
            <a:endParaRPr lang="en-US" dirty="0"/>
          </a:p>
        </p:txBody>
      </p:sp>
      <p:sp>
        <p:nvSpPr>
          <p:cNvPr id="9" name="Text Placeholder 4"/>
          <p:cNvSpPr>
            <a:spLocks noGrp="1"/>
          </p:cNvSpPr>
          <p:nvPr>
            <p:ph type="body" sz="quarter" idx="11"/>
          </p:nvPr>
        </p:nvSpPr>
        <p:spPr>
          <a:xfrm>
            <a:off x="366942" y="2520726"/>
            <a:ext cx="3963817" cy="639366"/>
          </a:xfrm>
          <a:prstGeom prst="rect">
            <a:avLst/>
          </a:prstGeom>
        </p:spPr>
        <p:txBody>
          <a:bodyPr>
            <a:noAutofit/>
          </a:bodyPr>
          <a:lstStyle>
            <a:lvl1pPr marL="0" indent="0">
              <a:lnSpc>
                <a:spcPct val="90000"/>
              </a:lnSpc>
              <a:buNone/>
              <a:defRPr sz="1200"/>
            </a:lvl1pPr>
            <a:lvl2pPr marL="342900" indent="0">
              <a:buNone/>
              <a:defRPr sz="1200"/>
            </a:lvl2pPr>
            <a:lvl3pPr marL="685800" indent="0">
              <a:buNone/>
              <a:defRPr sz="12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0" name="Picture 9" descr="A close up of a logo&#10;&#10;Description automatically generated">
            <a:extLst>
              <a:ext uri="{FF2B5EF4-FFF2-40B4-BE49-F238E27FC236}">
                <a16:creationId xmlns:a16="http://schemas.microsoft.com/office/drawing/2014/main" id="{84F9BD62-11D8-462A-B64E-C30BAC85B3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spTree>
    <p:extLst>
      <p:ext uri="{BB962C8B-B14F-4D97-AF65-F5344CB8AC3E}">
        <p14:creationId xmlns:p14="http://schemas.microsoft.com/office/powerpoint/2010/main" val="5351023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3605-FFBB-DF40-9F65-A763316E8C46}"/>
              </a:ext>
            </a:extLst>
          </p:cNvPr>
          <p:cNvSpPr>
            <a:spLocks noGrp="1"/>
          </p:cNvSpPr>
          <p:nvPr>
            <p:ph type="title"/>
          </p:nvPr>
        </p:nvSpPr>
        <p:spPr>
          <a:xfrm>
            <a:off x="358775" y="376238"/>
            <a:ext cx="8426450" cy="4853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38F0D4-8996-1340-9692-21C5B4DC5D31}"/>
              </a:ext>
            </a:extLst>
          </p:cNvPr>
          <p:cNvSpPr>
            <a:spLocks noGrp="1"/>
          </p:cNvSpPr>
          <p:nvPr>
            <p:ph idx="1"/>
          </p:nvPr>
        </p:nvSpPr>
        <p:spPr>
          <a:xfrm>
            <a:off x="358774" y="1019176"/>
            <a:ext cx="8426449" cy="3575447"/>
          </a:xfrm>
        </p:spPr>
        <p:txBody>
          <a:bodyPr>
            <a:noAutofit/>
          </a:bodyPr>
          <a:lstStyle>
            <a:lvl1pPr>
              <a:defRPr sz="2400" b="0"/>
            </a:lvl1pPr>
          </a:lstStyle>
          <a:p>
            <a:pPr fontAlgn="auto">
              <a:spcAft>
                <a:spcPts val="0"/>
              </a:spcAft>
              <a:defRPr/>
            </a:pPr>
            <a:r>
              <a:rPr lang="en-US" b="1" dirty="0">
                <a:ea typeface="+mn-ea"/>
              </a:rPr>
              <a:t>Sub-heading bold… 24pt</a:t>
            </a:r>
          </a:p>
          <a:p>
            <a:pPr fontAlgn="auto">
              <a:spcAft>
                <a:spcPts val="450"/>
              </a:spcAft>
              <a:defRPr/>
            </a:pPr>
            <a:r>
              <a:rPr lang="en-US" dirty="0">
                <a:solidFill>
                  <a:prstClr val="black"/>
                </a:solidFill>
                <a:ea typeface="+mn-ea"/>
              </a:rPr>
              <a:t>Body copy… 24pt</a:t>
            </a:r>
          </a:p>
          <a:p>
            <a:pPr fontAlgn="auto">
              <a:spcAft>
                <a:spcPts val="450"/>
              </a:spcAft>
              <a:buFont typeface="Lucida Grande"/>
              <a:buChar char="–"/>
              <a:defRPr/>
            </a:pPr>
            <a:r>
              <a:rPr lang="en-US" dirty="0">
                <a:solidFill>
                  <a:prstClr val="black"/>
                </a:solidFill>
                <a:ea typeface="+mn-ea"/>
              </a:rPr>
              <a:t>Bullet point… 24pt</a:t>
            </a:r>
          </a:p>
          <a:p>
            <a:pPr fontAlgn="auto">
              <a:spcAft>
                <a:spcPts val="450"/>
              </a:spcAft>
              <a:buFont typeface="Lucida Grande"/>
              <a:buChar char="–"/>
              <a:defRPr/>
            </a:pPr>
            <a:r>
              <a:rPr lang="en-US" dirty="0">
                <a:solidFill>
                  <a:prstClr val="black"/>
                </a:solidFill>
                <a:ea typeface="+mn-ea"/>
              </a:rPr>
              <a:t>Bullet point</a:t>
            </a:r>
          </a:p>
        </p:txBody>
      </p:sp>
      <p:graphicFrame>
        <p:nvGraphicFramePr>
          <p:cNvPr id="4" name="Table 3">
            <a:extLst>
              <a:ext uri="{FF2B5EF4-FFF2-40B4-BE49-F238E27FC236}">
                <a16:creationId xmlns:a16="http://schemas.microsoft.com/office/drawing/2014/main" id="{53F5080A-DFFE-664C-B514-2BB0E750C953}"/>
              </a:ext>
            </a:extLst>
          </p:cNvPr>
          <p:cNvGraphicFramePr>
            <a:graphicFrameLocks noGrp="1"/>
          </p:cNvGraphicFramePr>
          <p:nvPr userDrawn="1">
            <p:extLst>
              <p:ext uri="{D42A27DB-BD31-4B8C-83A1-F6EECF244321}">
                <p14:modId xmlns:p14="http://schemas.microsoft.com/office/powerpoint/2010/main" val="1309240821"/>
              </p:ext>
            </p:extLst>
          </p:nvPr>
        </p:nvGraphicFramePr>
        <p:xfrm>
          <a:off x="623905" y="3116765"/>
          <a:ext cx="4733364" cy="1257300"/>
        </p:xfrm>
        <a:graphic>
          <a:graphicData uri="http://schemas.openxmlformats.org/drawingml/2006/table">
            <a:tbl>
              <a:tblPr firstRow="1" bandRow="1">
                <a:tableStyleId>{0660B408-B3CF-4A94-85FC-2B1E0A45F4A2}</a:tableStyleId>
              </a:tblPr>
              <a:tblGrid>
                <a:gridCol w="1577788">
                  <a:extLst>
                    <a:ext uri="{9D8B030D-6E8A-4147-A177-3AD203B41FA5}">
                      <a16:colId xmlns:a16="http://schemas.microsoft.com/office/drawing/2014/main" val="20000"/>
                    </a:ext>
                  </a:extLst>
                </a:gridCol>
                <a:gridCol w="1577788">
                  <a:extLst>
                    <a:ext uri="{9D8B030D-6E8A-4147-A177-3AD203B41FA5}">
                      <a16:colId xmlns:a16="http://schemas.microsoft.com/office/drawing/2014/main" val="20001"/>
                    </a:ext>
                  </a:extLst>
                </a:gridCol>
                <a:gridCol w="1577788">
                  <a:extLst>
                    <a:ext uri="{9D8B030D-6E8A-4147-A177-3AD203B41FA5}">
                      <a16:colId xmlns:a16="http://schemas.microsoft.com/office/drawing/2014/main" val="20002"/>
                    </a:ext>
                  </a:extLst>
                </a:gridCol>
              </a:tblGrid>
              <a:tr h="251460">
                <a:tc>
                  <a:txBody>
                    <a:bodyPr/>
                    <a:lstStyle/>
                    <a:p>
                      <a:r>
                        <a:rPr lang="en-US" sz="1200" dirty="0">
                          <a:latin typeface="Tw Cen MT"/>
                          <a:cs typeface="Tw Cen MT"/>
                        </a:rPr>
                        <a:t>Heading</a:t>
                      </a:r>
                      <a:r>
                        <a:rPr lang="en-US" sz="1200" baseline="0" dirty="0">
                          <a:latin typeface="Tw Cen MT"/>
                          <a:cs typeface="Tw Cen MT"/>
                        </a:rPr>
                        <a:t> 1</a:t>
                      </a:r>
                      <a:endParaRPr lang="en-US" sz="1200" dirty="0">
                        <a:latin typeface="Tw Cen MT"/>
                        <a:cs typeface="Tw Cen MT"/>
                      </a:endParaRPr>
                    </a:p>
                  </a:txBody>
                  <a:tcPr marL="68580" marR="68580" marT="34290" marB="34290">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Tw Cen MT"/>
                          <a:cs typeface="Tw Cen MT"/>
                        </a:rPr>
                        <a:t>Heading</a:t>
                      </a:r>
                      <a:r>
                        <a:rPr lang="en-US" sz="1200" baseline="0" dirty="0">
                          <a:latin typeface="Tw Cen MT"/>
                          <a:cs typeface="Tw Cen MT"/>
                        </a:rPr>
                        <a:t> 2</a:t>
                      </a:r>
                      <a:endParaRPr lang="en-US" sz="1200" dirty="0">
                        <a:latin typeface="Tw Cen MT"/>
                        <a:cs typeface="Tw Cen MT"/>
                      </a:endParaRPr>
                    </a:p>
                  </a:txBody>
                  <a:tcPr marL="68580" marR="68580" marT="34290" marB="34290">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Tw Cen MT"/>
                          <a:cs typeface="Tw Cen MT"/>
                        </a:rPr>
                        <a:t>Heading</a:t>
                      </a:r>
                      <a:r>
                        <a:rPr lang="en-US" sz="1200" baseline="0" dirty="0">
                          <a:latin typeface="Tw Cen MT"/>
                          <a:cs typeface="Tw Cen MT"/>
                        </a:rPr>
                        <a:t> 3</a:t>
                      </a:r>
                      <a:endParaRPr lang="en-US" sz="1200" dirty="0">
                        <a:latin typeface="Tw Cen MT"/>
                        <a:cs typeface="Tw Cen MT"/>
                      </a:endParaRPr>
                    </a:p>
                  </a:txBody>
                  <a:tcPr marL="68580" marR="68580" marT="34290" marB="34290">
                    <a:lnB w="6350" cap="flat" cmpd="sng" algn="ctr">
                      <a:solidFill>
                        <a:srgbClr val="F0513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1460">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r>
                        <a:rPr lang="en-US" sz="1200" dirty="0">
                          <a:latin typeface="Tw Cen MT"/>
                          <a:cs typeface="Tw Cen MT"/>
                        </a:rPr>
                        <a:t>Body</a:t>
                      </a:r>
                      <a:r>
                        <a:rPr lang="en-US" sz="1200" baseline="0" dirty="0">
                          <a:latin typeface="Tw Cen MT"/>
                          <a:cs typeface="Tw Cen MT"/>
                        </a:rPr>
                        <a:t> copy</a:t>
                      </a:r>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1"/>
                  </a:ext>
                </a:extLst>
              </a:tr>
              <a:tr h="251460">
                <a:tc>
                  <a:txBody>
                    <a:bodyPr/>
                    <a:lstStyle/>
                    <a:p>
                      <a:r>
                        <a:rPr lang="en-US" sz="1200" dirty="0">
                          <a:latin typeface="Tw Cen MT"/>
                          <a:cs typeface="Tw Cen MT"/>
                        </a:rPr>
                        <a:t>xxx</a:t>
                      </a: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2"/>
                  </a:ext>
                </a:extLst>
              </a:tr>
              <a:tr h="251460">
                <a:tc>
                  <a:txBody>
                    <a:bodyPr/>
                    <a:lstStyle/>
                    <a:p>
                      <a:r>
                        <a:rPr lang="en-US" sz="1200" dirty="0">
                          <a:latin typeface="Tw Cen MT"/>
                          <a:cs typeface="Tw Cen MT"/>
                        </a:rPr>
                        <a:t>xxx</a:t>
                      </a: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3"/>
                  </a:ext>
                </a:extLst>
              </a:tr>
              <a:tr h="251460">
                <a:tc>
                  <a:txBody>
                    <a:bodyPr/>
                    <a:lstStyle/>
                    <a:p>
                      <a:r>
                        <a:rPr lang="en-US" sz="1200" dirty="0">
                          <a:latin typeface="Tw Cen MT"/>
                          <a:cs typeface="Tw Cen MT"/>
                        </a:rPr>
                        <a:t>xxx</a:t>
                      </a:r>
                    </a:p>
                  </a:txBody>
                  <a:tcPr marL="68580" marR="68580" marT="34290" marB="34290">
                    <a:lnT w="6350" cap="flat" cmpd="sng" algn="ctr">
                      <a:solidFill>
                        <a:srgbClr val="F05133"/>
                      </a:solidFill>
                      <a:prstDash val="solid"/>
                      <a:round/>
                      <a:headEnd type="none" w="med" len="med"/>
                      <a:tailEnd type="none" w="med" len="med"/>
                    </a:lnT>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tcPr>
                </a:tc>
                <a:tc>
                  <a:txBody>
                    <a:bodyPr/>
                    <a:lstStyle/>
                    <a:p>
                      <a:endParaRPr lang="en-US" sz="1200" dirty="0">
                        <a:latin typeface="Tw Cen MT"/>
                        <a:cs typeface="Tw Cen MT"/>
                      </a:endParaRPr>
                    </a:p>
                  </a:txBody>
                  <a:tcPr marL="68580" marR="68580" marT="34290" marB="34290">
                    <a:lnT w="6350" cap="flat" cmpd="sng" algn="ctr">
                      <a:solidFill>
                        <a:srgbClr val="F05133"/>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035552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775" y="1019176"/>
            <a:ext cx="8328025" cy="3575447"/>
          </a:xfrm>
          <a:prstGeom prst="rect">
            <a:avLst/>
          </a:prstGeom>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5" name="Title Placeholder 1">
            <a:extLst>
              <a:ext uri="{FF2B5EF4-FFF2-40B4-BE49-F238E27FC236}">
                <a16:creationId xmlns:a16="http://schemas.microsoft.com/office/drawing/2014/main" id="{63D16220-4F50-6A45-8A5C-0AB56F7CE96C}"/>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 </a:t>
            </a:r>
          </a:p>
        </p:txBody>
      </p:sp>
    </p:spTree>
    <p:extLst>
      <p:ext uri="{BB962C8B-B14F-4D97-AF65-F5344CB8AC3E}">
        <p14:creationId xmlns:p14="http://schemas.microsoft.com/office/powerpoint/2010/main" val="11804993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wo Content ">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0A60416-C836-0E45-976A-13A986DE89E8}"/>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
        <p:nvSpPr>
          <p:cNvPr id="7" name="Content Placeholder 2">
            <a:extLst>
              <a:ext uri="{FF2B5EF4-FFF2-40B4-BE49-F238E27FC236}">
                <a16:creationId xmlns:a16="http://schemas.microsoft.com/office/drawing/2014/main" id="{8337E35D-E929-4CDD-AFA3-DDA5D95A9F9F}"/>
              </a:ext>
            </a:extLst>
          </p:cNvPr>
          <p:cNvSpPr>
            <a:spLocks noGrp="1"/>
          </p:cNvSpPr>
          <p:nvPr>
            <p:ph sz="half" idx="10"/>
          </p:nvPr>
        </p:nvSpPr>
        <p:spPr>
          <a:xfrm>
            <a:off x="358775" y="1019944"/>
            <a:ext cx="4038600" cy="3394472"/>
          </a:xfrm>
          <a:prstGeom prst="rect">
            <a:avLst/>
          </a:prstGeom>
        </p:spPr>
        <p:txBody>
          <a:bodyPr>
            <a:normAutofit/>
          </a:bodyPr>
          <a:lstStyle>
            <a:lvl1pPr>
              <a:defRPr sz="1800"/>
            </a:lvl1pPr>
            <a:lvl2pPr>
              <a:defRPr sz="1800"/>
            </a:lvl2pPr>
            <a:lvl3pPr>
              <a:defRPr sz="18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DBCD8866-5C79-4769-B022-E56134A505BB}"/>
              </a:ext>
            </a:extLst>
          </p:cNvPr>
          <p:cNvSpPr>
            <a:spLocks noGrp="1"/>
          </p:cNvSpPr>
          <p:nvPr>
            <p:ph sz="half" idx="11"/>
          </p:nvPr>
        </p:nvSpPr>
        <p:spPr>
          <a:xfrm>
            <a:off x="4746625" y="1019944"/>
            <a:ext cx="4038600" cy="3394472"/>
          </a:xfrm>
          <a:prstGeom prst="rect">
            <a:avLst/>
          </a:prstGeom>
        </p:spPr>
        <p:txBody>
          <a:bodyPr>
            <a:normAutofit/>
          </a:bodyPr>
          <a:lstStyle>
            <a:lvl1pPr>
              <a:defRPr sz="1800"/>
            </a:lvl1pPr>
            <a:lvl2pPr>
              <a:defRPr sz="1800"/>
            </a:lvl2pPr>
            <a:lvl3pPr>
              <a:defRPr sz="18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90598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58775" y="1020366"/>
            <a:ext cx="4038600" cy="3394050"/>
          </a:xfrm>
          <a:prstGeom prst="rect">
            <a:avLst/>
          </a:prstGeom>
        </p:spPr>
        <p:txBody>
          <a:bodyPr/>
          <a:lstStyle>
            <a:lvl1pPr marL="0" indent="0">
              <a:buNone/>
              <a:defRPr/>
            </a:lvl1pPr>
          </a:lstStyle>
          <a:p>
            <a:pPr lvl="0"/>
            <a:r>
              <a:rPr lang="en-US" noProof="0" dirty="0"/>
              <a:t>Click icon to add picture</a:t>
            </a:r>
          </a:p>
        </p:txBody>
      </p:sp>
      <p:sp>
        <p:nvSpPr>
          <p:cNvPr id="8" name="Text Placeholder 2">
            <a:extLst>
              <a:ext uri="{FF2B5EF4-FFF2-40B4-BE49-F238E27FC236}">
                <a16:creationId xmlns:a16="http://schemas.microsoft.com/office/drawing/2014/main" id="{6B9C7BF1-6F0E-974D-9D90-8D2E3B8614D2}"/>
              </a:ext>
            </a:extLst>
          </p:cNvPr>
          <p:cNvSpPr>
            <a:spLocks noGrp="1"/>
          </p:cNvSpPr>
          <p:nvPr>
            <p:ph type="body" sz="quarter" idx="13" hasCustomPrompt="1"/>
          </p:nvPr>
        </p:nvSpPr>
        <p:spPr>
          <a:xfrm>
            <a:off x="359999" y="4454788"/>
            <a:ext cx="8326801" cy="312474"/>
          </a:xfrm>
        </p:spPr>
        <p:txBody>
          <a:bodyPr lIns="0" tIns="0" rIns="0" bIns="0"/>
          <a:lstStyle>
            <a:lvl1pPr marL="0" indent="0">
              <a:buNone/>
              <a:defRPr sz="1000"/>
            </a:lvl1pPr>
          </a:lstStyle>
          <a:p>
            <a:pPr lvl="0"/>
            <a:r>
              <a:rPr lang="en-US" dirty="0"/>
              <a:t>* Include source</a:t>
            </a:r>
          </a:p>
        </p:txBody>
      </p:sp>
      <p:sp>
        <p:nvSpPr>
          <p:cNvPr id="9" name="Title Placeholder 1">
            <a:extLst>
              <a:ext uri="{FF2B5EF4-FFF2-40B4-BE49-F238E27FC236}">
                <a16:creationId xmlns:a16="http://schemas.microsoft.com/office/drawing/2014/main" id="{1A6E8EBA-F725-4134-BDCE-9523A37EB37D}"/>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
        <p:nvSpPr>
          <p:cNvPr id="10" name="Content Placeholder 3">
            <a:extLst>
              <a:ext uri="{FF2B5EF4-FFF2-40B4-BE49-F238E27FC236}">
                <a16:creationId xmlns:a16="http://schemas.microsoft.com/office/drawing/2014/main" id="{F396C485-F9F3-4645-B4AF-D94B2D375008}"/>
              </a:ext>
            </a:extLst>
          </p:cNvPr>
          <p:cNvSpPr>
            <a:spLocks noGrp="1"/>
          </p:cNvSpPr>
          <p:nvPr>
            <p:ph sz="half" idx="14"/>
          </p:nvPr>
        </p:nvSpPr>
        <p:spPr>
          <a:xfrm>
            <a:off x="4746625" y="1019944"/>
            <a:ext cx="4038600" cy="3394472"/>
          </a:xfrm>
          <a:prstGeom prst="rect">
            <a:avLst/>
          </a:prstGeom>
        </p:spPr>
        <p:txBody>
          <a:bodyPr>
            <a:normAutofit/>
          </a:bodyPr>
          <a:lstStyle>
            <a:lvl1pPr>
              <a:defRPr sz="1800"/>
            </a:lvl1pPr>
            <a:lvl2pPr>
              <a:defRPr sz="1800"/>
            </a:lvl2pPr>
            <a:lvl3pPr>
              <a:defRPr sz="1800"/>
            </a:lvl3pPr>
            <a:lvl4pPr>
              <a:defRPr sz="1500"/>
            </a:lvl4pPr>
            <a:lvl5pPr>
              <a:defRPr sz="15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582452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5" name="Table Placeholder 4"/>
          <p:cNvSpPr>
            <a:spLocks noGrp="1"/>
          </p:cNvSpPr>
          <p:nvPr>
            <p:ph type="tbl" sz="quarter" idx="12"/>
          </p:nvPr>
        </p:nvSpPr>
        <p:spPr>
          <a:xfrm>
            <a:off x="358775" y="1020366"/>
            <a:ext cx="4038600" cy="3394049"/>
          </a:xfrm>
          <a:prstGeom prst="rect">
            <a:avLst/>
          </a:prstGeom>
        </p:spPr>
        <p:txBody>
          <a:bodyPr/>
          <a:lstStyle>
            <a:lvl1pPr marL="0" indent="0">
              <a:buNone/>
              <a:defRPr/>
            </a:lvl1pPr>
          </a:lstStyle>
          <a:p>
            <a:pPr lvl="0"/>
            <a:r>
              <a:rPr lang="en-US" noProof="0"/>
              <a:t>Click icon to add table</a:t>
            </a:r>
            <a:endParaRPr lang="en-US" noProof="0" dirty="0"/>
          </a:p>
        </p:txBody>
      </p:sp>
      <p:sp>
        <p:nvSpPr>
          <p:cNvPr id="6" name="Title Placeholder 1">
            <a:extLst>
              <a:ext uri="{FF2B5EF4-FFF2-40B4-BE49-F238E27FC236}">
                <a16:creationId xmlns:a16="http://schemas.microsoft.com/office/drawing/2014/main" id="{9842CB90-B2C6-9F49-B023-F8F8398B98F1}"/>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
        <p:nvSpPr>
          <p:cNvPr id="9" name="Text Placeholder 2">
            <a:extLst>
              <a:ext uri="{FF2B5EF4-FFF2-40B4-BE49-F238E27FC236}">
                <a16:creationId xmlns:a16="http://schemas.microsoft.com/office/drawing/2014/main" id="{DCFEABC9-8CBC-4BFF-A091-0B1175D7A66C}"/>
              </a:ext>
            </a:extLst>
          </p:cNvPr>
          <p:cNvSpPr>
            <a:spLocks noGrp="1"/>
          </p:cNvSpPr>
          <p:nvPr>
            <p:ph type="body" sz="quarter" idx="13" hasCustomPrompt="1"/>
          </p:nvPr>
        </p:nvSpPr>
        <p:spPr>
          <a:xfrm>
            <a:off x="359999" y="4454788"/>
            <a:ext cx="8326801" cy="312474"/>
          </a:xfrm>
        </p:spPr>
        <p:txBody>
          <a:bodyPr lIns="0" tIns="0" rIns="0" bIns="0"/>
          <a:lstStyle>
            <a:lvl1pPr marL="0" indent="0">
              <a:buNone/>
              <a:defRPr sz="1000"/>
            </a:lvl1pPr>
          </a:lstStyle>
          <a:p>
            <a:pPr lvl="0"/>
            <a:r>
              <a:rPr lang="en-US" dirty="0"/>
              <a:t>* Include source</a:t>
            </a:r>
          </a:p>
        </p:txBody>
      </p:sp>
      <p:sp>
        <p:nvSpPr>
          <p:cNvPr id="10" name="Content Placeholder 3">
            <a:extLst>
              <a:ext uri="{FF2B5EF4-FFF2-40B4-BE49-F238E27FC236}">
                <a16:creationId xmlns:a16="http://schemas.microsoft.com/office/drawing/2014/main" id="{FC11E0B3-4BC6-4FDE-8A73-E95CF528DD93}"/>
              </a:ext>
            </a:extLst>
          </p:cNvPr>
          <p:cNvSpPr>
            <a:spLocks noGrp="1"/>
          </p:cNvSpPr>
          <p:nvPr>
            <p:ph sz="half" idx="14"/>
          </p:nvPr>
        </p:nvSpPr>
        <p:spPr>
          <a:xfrm>
            <a:off x="4746625" y="1019944"/>
            <a:ext cx="4038600" cy="3394472"/>
          </a:xfrm>
          <a:prstGeom prst="rect">
            <a:avLst/>
          </a:prstGeom>
        </p:spPr>
        <p:txBody>
          <a:bodyPr>
            <a:normAutofit/>
          </a:bodyPr>
          <a:lstStyle>
            <a:lvl1pPr>
              <a:defRPr sz="1800"/>
            </a:lvl1pPr>
            <a:lvl2pPr>
              <a:defRPr sz="1800"/>
            </a:lvl2pPr>
            <a:lvl3pPr>
              <a:defRPr sz="18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82385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Content and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358775" y="1020366"/>
            <a:ext cx="4038600" cy="3394049"/>
          </a:xfrm>
          <a:prstGeom prst="rect">
            <a:avLst/>
          </a:prstGeom>
        </p:spPr>
        <p:txBody>
          <a:bodyPr/>
          <a:lstStyle>
            <a:lvl1pPr marL="0" marR="0" indent="0" algn="l" defTabSz="342900" rtl="0" eaLnBrk="1" fontAlgn="auto" latinLnBrk="0" hangingPunct="1">
              <a:lnSpc>
                <a:spcPct val="100000"/>
              </a:lnSpc>
              <a:spcBef>
                <a:spcPct val="20000"/>
              </a:spcBef>
              <a:spcAft>
                <a:spcPts val="0"/>
              </a:spcAft>
              <a:buClrTx/>
              <a:buSzTx/>
              <a:buFont typeface="Lucida Grande"/>
              <a:buNone/>
              <a:tabLst/>
              <a:defRPr/>
            </a:lvl1pPr>
          </a:lstStyle>
          <a:p>
            <a:pPr lvl="0"/>
            <a:r>
              <a:rPr lang="en-US" noProof="0"/>
              <a:t>Click icon to add chart</a:t>
            </a:r>
            <a:endParaRPr lang="en-US" noProof="0" dirty="0"/>
          </a:p>
        </p:txBody>
      </p:sp>
      <p:sp>
        <p:nvSpPr>
          <p:cNvPr id="7" name="Title Placeholder 1">
            <a:extLst>
              <a:ext uri="{FF2B5EF4-FFF2-40B4-BE49-F238E27FC236}">
                <a16:creationId xmlns:a16="http://schemas.microsoft.com/office/drawing/2014/main" id="{A9E197AB-B83A-F542-A11A-CDE4241E8C70}"/>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
        <p:nvSpPr>
          <p:cNvPr id="8" name="Text Placeholder 2">
            <a:extLst>
              <a:ext uri="{FF2B5EF4-FFF2-40B4-BE49-F238E27FC236}">
                <a16:creationId xmlns:a16="http://schemas.microsoft.com/office/drawing/2014/main" id="{FDEF6A8B-FE55-424B-91EF-87F23AFF3A8E}"/>
              </a:ext>
            </a:extLst>
          </p:cNvPr>
          <p:cNvSpPr>
            <a:spLocks noGrp="1"/>
          </p:cNvSpPr>
          <p:nvPr>
            <p:ph type="body" sz="quarter" idx="14" hasCustomPrompt="1"/>
          </p:nvPr>
        </p:nvSpPr>
        <p:spPr>
          <a:xfrm>
            <a:off x="359999" y="4454788"/>
            <a:ext cx="8326801" cy="312474"/>
          </a:xfrm>
        </p:spPr>
        <p:txBody>
          <a:bodyPr lIns="0" tIns="0" rIns="0" bIns="0"/>
          <a:lstStyle>
            <a:lvl1pPr marL="0" indent="0">
              <a:buNone/>
              <a:defRPr sz="1000"/>
            </a:lvl1pPr>
          </a:lstStyle>
          <a:p>
            <a:pPr lvl="0"/>
            <a:r>
              <a:rPr lang="en-US" dirty="0"/>
              <a:t>* Include source</a:t>
            </a:r>
          </a:p>
        </p:txBody>
      </p:sp>
      <p:sp>
        <p:nvSpPr>
          <p:cNvPr id="10" name="Content Placeholder 3">
            <a:extLst>
              <a:ext uri="{FF2B5EF4-FFF2-40B4-BE49-F238E27FC236}">
                <a16:creationId xmlns:a16="http://schemas.microsoft.com/office/drawing/2014/main" id="{FBDBDC34-494F-4FD9-8BD2-78F992CF9F94}"/>
              </a:ext>
            </a:extLst>
          </p:cNvPr>
          <p:cNvSpPr>
            <a:spLocks noGrp="1"/>
          </p:cNvSpPr>
          <p:nvPr>
            <p:ph sz="half" idx="15"/>
          </p:nvPr>
        </p:nvSpPr>
        <p:spPr>
          <a:xfrm>
            <a:off x="4746625" y="1019944"/>
            <a:ext cx="4038600" cy="339447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59779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58774" y="1019176"/>
            <a:ext cx="8426450" cy="3575447"/>
          </a:xfrm>
          <a:prstGeom prst="rect">
            <a:avLst/>
          </a:prstGeom>
        </p:spPr>
        <p:txBody>
          <a:bodyPr anchor="ctr" anchorCtr="1"/>
          <a:lstStyle>
            <a:lvl1pPr marL="0" indent="0" algn="ctr">
              <a:buNone/>
              <a:defRPr baseline="0"/>
            </a:lvl1pPr>
          </a:lstStyle>
          <a:p>
            <a:pPr lvl="0"/>
            <a:r>
              <a:rPr lang="en-US" noProof="0"/>
              <a:t>Click icon to add picture</a:t>
            </a:r>
            <a:endParaRPr lang="en-US" noProof="0" dirty="0"/>
          </a:p>
        </p:txBody>
      </p:sp>
      <p:sp>
        <p:nvSpPr>
          <p:cNvPr id="4" name="Title Placeholder 1">
            <a:extLst>
              <a:ext uri="{FF2B5EF4-FFF2-40B4-BE49-F238E27FC236}">
                <a16:creationId xmlns:a16="http://schemas.microsoft.com/office/drawing/2014/main" id="{716DB442-97F9-2241-AE70-FE1000B8FF4F}"/>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Tree>
    <p:extLst>
      <p:ext uri="{BB962C8B-B14F-4D97-AF65-F5344CB8AC3E}">
        <p14:creationId xmlns:p14="http://schemas.microsoft.com/office/powerpoint/2010/main" val="1996099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page with image behin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43ACB46-9687-E74A-B89B-5B464F6BF21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3999" cy="5143500"/>
          </a:xfrm>
          <a:prstGeom prst="rect">
            <a:avLst/>
          </a:prstGeom>
        </p:spPr>
      </p:pic>
      <p:sp>
        <p:nvSpPr>
          <p:cNvPr id="9" name="Title 8"/>
          <p:cNvSpPr>
            <a:spLocks noGrp="1"/>
          </p:cNvSpPr>
          <p:nvPr>
            <p:ph type="title" hasCustomPrompt="1"/>
          </p:nvPr>
        </p:nvSpPr>
        <p:spPr>
          <a:xfrm>
            <a:off x="358775" y="385420"/>
            <a:ext cx="8430293" cy="531455"/>
          </a:xfrm>
        </p:spPr>
        <p:txBody>
          <a:bodyPr anchor="t"/>
          <a:lstStyle>
            <a:lvl1pPr algn="ctr">
              <a:defRPr sz="2200">
                <a:solidFill>
                  <a:srgbClr val="E64626"/>
                </a:solidFill>
              </a:defRPr>
            </a:lvl1pPr>
          </a:lstStyle>
          <a:p>
            <a:r>
              <a:rPr lang="en-US" dirty="0"/>
              <a:t>Title heading here</a:t>
            </a:r>
          </a:p>
        </p:txBody>
      </p:sp>
      <p:sp>
        <p:nvSpPr>
          <p:cNvPr id="16" name="Text Placeholder 4"/>
          <p:cNvSpPr>
            <a:spLocks noGrp="1"/>
          </p:cNvSpPr>
          <p:nvPr>
            <p:ph type="body" sz="quarter" idx="13" hasCustomPrompt="1"/>
          </p:nvPr>
        </p:nvSpPr>
        <p:spPr>
          <a:xfrm>
            <a:off x="358775" y="995844"/>
            <a:ext cx="8430293"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11" name="Picture 10">
            <a:extLst>
              <a:ext uri="{FF2B5EF4-FFF2-40B4-BE49-F238E27FC236}">
                <a16:creationId xmlns:a16="http://schemas.microsoft.com/office/drawing/2014/main" id="{7AED50A0-D355-754C-8CE1-B6D0454913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47768" y="1527299"/>
            <a:ext cx="1848464" cy="639366"/>
          </a:xfrm>
          <a:prstGeom prst="rect">
            <a:avLst/>
          </a:prstGeom>
        </p:spPr>
      </p:pic>
    </p:spTree>
    <p:extLst>
      <p:ext uri="{BB962C8B-B14F-4D97-AF65-F5344CB8AC3E}">
        <p14:creationId xmlns:p14="http://schemas.microsoft.com/office/powerpoint/2010/main" val="41851230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61D717C-1AC4-394E-91B8-A016BB12DA1B}"/>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Tree>
    <p:extLst>
      <p:ext uri="{BB962C8B-B14F-4D97-AF65-F5344CB8AC3E}">
        <p14:creationId xmlns:p14="http://schemas.microsoft.com/office/powerpoint/2010/main" val="16058995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8" name="Picture 7" descr="USY_MB1_PMS_1_Colour_Reversed_Logo.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4025" y="4429125"/>
            <a:ext cx="1536700" cy="397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Placeholder 4"/>
          <p:cNvSpPr>
            <a:spLocks noGrp="1"/>
          </p:cNvSpPr>
          <p:nvPr>
            <p:ph type="body" sz="quarter" idx="11"/>
          </p:nvPr>
        </p:nvSpPr>
        <p:spPr>
          <a:xfrm>
            <a:off x="358775" y="879913"/>
            <a:ext cx="8426450" cy="485387"/>
          </a:xfrm>
          <a:prstGeom prst="rect">
            <a:avLst/>
          </a:prstGeom>
          <a:noFill/>
        </p:spPr>
        <p:txBody>
          <a:bodyPr/>
          <a:lstStyle>
            <a:lvl1pPr marL="0" indent="0">
              <a:lnSpc>
                <a:spcPct val="90000"/>
              </a:lnSpc>
              <a:buNone/>
              <a:defRPr sz="18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7" name="Picture Placeholder 13"/>
          <p:cNvSpPr>
            <a:spLocks noGrp="1"/>
          </p:cNvSpPr>
          <p:nvPr>
            <p:ph type="pic" sz="quarter" idx="12"/>
          </p:nvPr>
        </p:nvSpPr>
        <p:spPr>
          <a:xfrm>
            <a:off x="358775" y="1365300"/>
            <a:ext cx="8426450" cy="3401962"/>
          </a:xfrm>
          <a:prstGeom prst="rect">
            <a:avLst/>
          </a:prstGeom>
          <a:solidFill>
            <a:srgbClr val="D9D9D9"/>
          </a:solidFill>
        </p:spPr>
        <p:txBody>
          <a:bodyPr anchor="ctr" anchorCtr="0"/>
          <a:lstStyle>
            <a:lvl1pPr marL="0" indent="0" algn="ctr">
              <a:buNone/>
              <a:defRPr/>
            </a:lvl1pPr>
          </a:lstStyle>
          <a:p>
            <a:pPr lvl="0"/>
            <a:r>
              <a:rPr lang="en-US" noProof="0"/>
              <a:t>Click icon to add picture</a:t>
            </a:r>
            <a:endParaRPr lang="en-US" noProof="0" dirty="0"/>
          </a:p>
        </p:txBody>
      </p:sp>
      <p:sp>
        <p:nvSpPr>
          <p:cNvPr id="10" name="Title Placeholder 1">
            <a:extLst>
              <a:ext uri="{FF2B5EF4-FFF2-40B4-BE49-F238E27FC236}">
                <a16:creationId xmlns:a16="http://schemas.microsoft.com/office/drawing/2014/main" id="{8AB9FAD1-F758-AF4C-BAD5-AFAD67046B97}"/>
              </a:ext>
            </a:extLst>
          </p:cNvPr>
          <p:cNvSpPr>
            <a:spLocks noGrp="1"/>
          </p:cNvSpPr>
          <p:nvPr>
            <p:ph type="title" hasCustomPrompt="1"/>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slide title</a:t>
            </a:r>
          </a:p>
        </p:txBody>
      </p:sp>
    </p:spTree>
    <p:extLst>
      <p:ext uri="{BB962C8B-B14F-4D97-AF65-F5344CB8AC3E}">
        <p14:creationId xmlns:p14="http://schemas.microsoft.com/office/powerpoint/2010/main" val="9417975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Divider - Option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382753-51C7-0C46-B853-1DBA86E4E953}"/>
              </a:ext>
            </a:extLst>
          </p:cNvPr>
          <p:cNvSpPr/>
          <p:nvPr userDrawn="1"/>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Title 8">
            <a:extLst>
              <a:ext uri="{FF2B5EF4-FFF2-40B4-BE49-F238E27FC236}">
                <a16:creationId xmlns:a16="http://schemas.microsoft.com/office/drawing/2014/main" id="{F6164CB4-EC8E-0144-9230-9A41AA8066A6}"/>
              </a:ext>
            </a:extLst>
          </p:cNvPr>
          <p:cNvSpPr>
            <a:spLocks noGrp="1"/>
          </p:cNvSpPr>
          <p:nvPr>
            <p:ph type="title" hasCustomPrompt="1"/>
          </p:nvPr>
        </p:nvSpPr>
        <p:spPr>
          <a:xfrm>
            <a:off x="381884" y="1212811"/>
            <a:ext cx="8407184" cy="531455"/>
          </a:xfrm>
        </p:spPr>
        <p:txBody>
          <a:bodyPr anchor="t"/>
          <a:lstStyle>
            <a:lvl1pPr algn="l">
              <a:defRPr sz="2200">
                <a:solidFill>
                  <a:schemeClr val="bg1"/>
                </a:solidFill>
              </a:defRPr>
            </a:lvl1pPr>
          </a:lstStyle>
          <a:p>
            <a:r>
              <a:rPr lang="en-US" dirty="0"/>
              <a:t>Title heading here</a:t>
            </a:r>
          </a:p>
        </p:txBody>
      </p:sp>
      <p:sp>
        <p:nvSpPr>
          <p:cNvPr id="10" name="Text Placeholder 4">
            <a:extLst>
              <a:ext uri="{FF2B5EF4-FFF2-40B4-BE49-F238E27FC236}">
                <a16:creationId xmlns:a16="http://schemas.microsoft.com/office/drawing/2014/main" id="{C7C3DC85-C5E4-9F4F-9A53-A30541465834}"/>
              </a:ext>
            </a:extLst>
          </p:cNvPr>
          <p:cNvSpPr>
            <a:spLocks noGrp="1"/>
          </p:cNvSpPr>
          <p:nvPr>
            <p:ph type="body" sz="quarter" idx="13" hasCustomPrompt="1"/>
          </p:nvPr>
        </p:nvSpPr>
        <p:spPr>
          <a:xfrm>
            <a:off x="382766" y="1852176"/>
            <a:ext cx="8406302" cy="531455"/>
          </a:xfrm>
        </p:spPr>
        <p:txBody>
          <a:bodyPr lIns="0" tIns="0" rIns="0" bIns="0"/>
          <a:lstStyle>
            <a:lvl1pPr marL="0" indent="0" algn="l">
              <a:lnSpc>
                <a:spcPct val="90000"/>
              </a:lnSpc>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9" name="Picture 8">
            <a:extLst>
              <a:ext uri="{FF2B5EF4-FFF2-40B4-BE49-F238E27FC236}">
                <a16:creationId xmlns:a16="http://schemas.microsoft.com/office/drawing/2014/main" id="{C4F743E6-42C8-45D8-A63F-90FE0651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022" y="4031134"/>
            <a:ext cx="1494878" cy="517600"/>
          </a:xfrm>
          <a:prstGeom prst="rect">
            <a:avLst/>
          </a:prstGeom>
        </p:spPr>
      </p:pic>
    </p:spTree>
    <p:extLst>
      <p:ext uri="{BB962C8B-B14F-4D97-AF65-F5344CB8AC3E}">
        <p14:creationId xmlns:p14="http://schemas.microsoft.com/office/powerpoint/2010/main" val="1131766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F277205-D819-0E49-850F-A3DCF077A5B8}"/>
              </a:ext>
            </a:extLst>
          </p:cNvPr>
          <p:cNvSpPr/>
          <p:nvPr userDrawn="1"/>
        </p:nvSpPr>
        <p:spPr>
          <a:xfrm>
            <a:off x="0" y="0"/>
            <a:ext cx="9144000" cy="5143500"/>
          </a:xfrm>
          <a:prstGeom prst="rect">
            <a:avLst/>
          </a:prstGeom>
          <a:solidFill>
            <a:srgbClr val="FFB800"/>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 name="Title 8">
            <a:extLst>
              <a:ext uri="{FF2B5EF4-FFF2-40B4-BE49-F238E27FC236}">
                <a16:creationId xmlns:a16="http://schemas.microsoft.com/office/drawing/2014/main" id="{C20D03EA-04EC-3E4D-A8DD-25B0B1CFB907}"/>
              </a:ext>
            </a:extLst>
          </p:cNvPr>
          <p:cNvSpPr>
            <a:spLocks noGrp="1"/>
          </p:cNvSpPr>
          <p:nvPr>
            <p:ph type="title" hasCustomPrompt="1"/>
          </p:nvPr>
        </p:nvSpPr>
        <p:spPr>
          <a:xfrm>
            <a:off x="381884" y="1212811"/>
            <a:ext cx="8407184" cy="531455"/>
          </a:xfrm>
        </p:spPr>
        <p:txBody>
          <a:bodyPr anchor="t"/>
          <a:lstStyle>
            <a:lvl1pPr algn="l">
              <a:defRPr sz="2200">
                <a:solidFill>
                  <a:schemeClr val="tx1"/>
                </a:solidFill>
              </a:defRPr>
            </a:lvl1pPr>
          </a:lstStyle>
          <a:p>
            <a:r>
              <a:rPr lang="en-US" dirty="0"/>
              <a:t>Title heading here</a:t>
            </a:r>
          </a:p>
        </p:txBody>
      </p:sp>
      <p:sp>
        <p:nvSpPr>
          <p:cNvPr id="8" name="Text Placeholder 4">
            <a:extLst>
              <a:ext uri="{FF2B5EF4-FFF2-40B4-BE49-F238E27FC236}">
                <a16:creationId xmlns:a16="http://schemas.microsoft.com/office/drawing/2014/main" id="{77BCA0C8-FD5B-AE4C-9999-548657AE139B}"/>
              </a:ext>
            </a:extLst>
          </p:cNvPr>
          <p:cNvSpPr>
            <a:spLocks noGrp="1"/>
          </p:cNvSpPr>
          <p:nvPr>
            <p:ph type="body" sz="quarter" idx="13" hasCustomPrompt="1"/>
          </p:nvPr>
        </p:nvSpPr>
        <p:spPr>
          <a:xfrm>
            <a:off x="382766" y="1852175"/>
            <a:ext cx="8406302" cy="532800"/>
          </a:xfrm>
        </p:spPr>
        <p:txBody>
          <a:bodyPr lIns="0" tIns="0" rIns="0" bIns="0"/>
          <a:lstStyle>
            <a:lvl1pPr marL="0" indent="0" algn="l">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9" name="Picture 8" descr="A close up of a logo&#10;&#10;Description automatically generated">
            <a:extLst>
              <a:ext uri="{FF2B5EF4-FFF2-40B4-BE49-F238E27FC236}">
                <a16:creationId xmlns:a16="http://schemas.microsoft.com/office/drawing/2014/main" id="{2C89BC04-6416-479F-AF58-1E9563CF65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038" y="3859220"/>
            <a:ext cx="1853087" cy="864774"/>
          </a:xfrm>
          <a:prstGeom prst="rect">
            <a:avLst/>
          </a:prstGeom>
        </p:spPr>
      </p:pic>
    </p:spTree>
    <p:extLst>
      <p:ext uri="{BB962C8B-B14F-4D97-AF65-F5344CB8AC3E}">
        <p14:creationId xmlns:p14="http://schemas.microsoft.com/office/powerpoint/2010/main" val="17834160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 Option 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1437180-96FB-744F-865F-A5F1DCF5F20E}"/>
              </a:ext>
            </a:extLst>
          </p:cNvPr>
          <p:cNvSpPr/>
          <p:nvPr userDrawn="1"/>
        </p:nvSpPr>
        <p:spPr>
          <a:xfrm>
            <a:off x="0" y="0"/>
            <a:ext cx="9144000" cy="51435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8">
            <a:extLst>
              <a:ext uri="{FF2B5EF4-FFF2-40B4-BE49-F238E27FC236}">
                <a16:creationId xmlns:a16="http://schemas.microsoft.com/office/drawing/2014/main" id="{378A92A4-48B7-0340-8B92-C0F9AC1FDA6C}"/>
              </a:ext>
            </a:extLst>
          </p:cNvPr>
          <p:cNvSpPr>
            <a:spLocks noGrp="1"/>
          </p:cNvSpPr>
          <p:nvPr>
            <p:ph type="title" hasCustomPrompt="1"/>
          </p:nvPr>
        </p:nvSpPr>
        <p:spPr>
          <a:xfrm>
            <a:off x="381884" y="1212811"/>
            <a:ext cx="8407184" cy="531455"/>
          </a:xfrm>
        </p:spPr>
        <p:txBody>
          <a:bodyPr anchor="t"/>
          <a:lstStyle>
            <a:lvl1pPr algn="l">
              <a:defRPr sz="2200">
                <a:solidFill>
                  <a:schemeClr val="bg1"/>
                </a:solidFill>
              </a:defRPr>
            </a:lvl1pPr>
          </a:lstStyle>
          <a:p>
            <a:r>
              <a:rPr lang="en-US" dirty="0"/>
              <a:t>Title heading here</a:t>
            </a:r>
          </a:p>
        </p:txBody>
      </p:sp>
      <p:sp>
        <p:nvSpPr>
          <p:cNvPr id="14" name="Text Placeholder 4">
            <a:extLst>
              <a:ext uri="{FF2B5EF4-FFF2-40B4-BE49-F238E27FC236}">
                <a16:creationId xmlns:a16="http://schemas.microsoft.com/office/drawing/2014/main" id="{55933010-02AF-864A-B29C-468E3DDEEA5E}"/>
              </a:ext>
            </a:extLst>
          </p:cNvPr>
          <p:cNvSpPr>
            <a:spLocks noGrp="1"/>
          </p:cNvSpPr>
          <p:nvPr>
            <p:ph type="body" sz="quarter" idx="13" hasCustomPrompt="1"/>
          </p:nvPr>
        </p:nvSpPr>
        <p:spPr>
          <a:xfrm>
            <a:off x="382766" y="1852176"/>
            <a:ext cx="8406302" cy="531455"/>
          </a:xfrm>
        </p:spPr>
        <p:txBody>
          <a:bodyPr lIns="0" tIns="0" rIns="0" bIns="0"/>
          <a:lstStyle>
            <a:lvl1pPr marL="0" indent="0" algn="l">
              <a:lnSpc>
                <a:spcPct val="90000"/>
              </a:lnSpc>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pic>
        <p:nvPicPr>
          <p:cNvPr id="7" name="Picture 6">
            <a:extLst>
              <a:ext uri="{FF2B5EF4-FFF2-40B4-BE49-F238E27FC236}">
                <a16:creationId xmlns:a16="http://schemas.microsoft.com/office/drawing/2014/main" id="{A8B4EEB1-42E3-41C0-B7C0-8A0DC6F52F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022" y="4031134"/>
            <a:ext cx="1494878" cy="517600"/>
          </a:xfrm>
          <a:prstGeom prst="rect">
            <a:avLst/>
          </a:prstGeom>
        </p:spPr>
      </p:pic>
    </p:spTree>
    <p:extLst>
      <p:ext uri="{BB962C8B-B14F-4D97-AF65-F5344CB8AC3E}">
        <p14:creationId xmlns:p14="http://schemas.microsoft.com/office/powerpoint/2010/main" val="38117383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64D38-740B-4143-AC65-384A0440D003}"/>
              </a:ext>
            </a:extLst>
          </p:cNvPr>
          <p:cNvSpPr>
            <a:spLocks noGrp="1"/>
          </p:cNvSpPr>
          <p:nvPr>
            <p:ph type="ctrTitle"/>
          </p:nvPr>
        </p:nvSpPr>
        <p:spPr>
          <a:xfrm>
            <a:off x="464344" y="341710"/>
            <a:ext cx="6858000" cy="1790700"/>
          </a:xfrm>
        </p:spPr>
        <p:txBody>
          <a:bodyPr anchor="b"/>
          <a:lstStyle>
            <a:lvl1pPr algn="ctr">
              <a:defRPr sz="4500" b="1">
                <a:solidFill>
                  <a:schemeClr val="bg1">
                    <a:lumMod val="95000"/>
                  </a:schemeClr>
                </a:solidFill>
              </a:defRPr>
            </a:lvl1pPr>
          </a:lstStyle>
          <a:p>
            <a:r>
              <a:rPr lang="en-US" dirty="0"/>
              <a:t>Click to edit Master title style</a:t>
            </a:r>
          </a:p>
        </p:txBody>
      </p:sp>
      <p:sp>
        <p:nvSpPr>
          <p:cNvPr id="3" name="Subtitle 2">
            <a:extLst>
              <a:ext uri="{FF2B5EF4-FFF2-40B4-BE49-F238E27FC236}">
                <a16:creationId xmlns:a16="http://schemas.microsoft.com/office/drawing/2014/main" id="{DCA52540-53B1-4F9A-9B57-DD1BD668A361}"/>
              </a:ext>
            </a:extLst>
          </p:cNvPr>
          <p:cNvSpPr>
            <a:spLocks noGrp="1"/>
          </p:cNvSpPr>
          <p:nvPr>
            <p:ph type="subTitle" idx="1"/>
          </p:nvPr>
        </p:nvSpPr>
        <p:spPr>
          <a:xfrm>
            <a:off x="464344" y="2201466"/>
            <a:ext cx="6858000" cy="1241822"/>
          </a:xfrm>
        </p:spPr>
        <p:txBody>
          <a:bodyPr/>
          <a:lstStyle>
            <a:lvl1pPr marL="0" indent="0" algn="ctr">
              <a:buNone/>
              <a:defRPr sz="1800">
                <a:solidFill>
                  <a:schemeClr val="bg1">
                    <a:lumMod val="9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a:extLst>
              <a:ext uri="{FF2B5EF4-FFF2-40B4-BE49-F238E27FC236}">
                <a16:creationId xmlns:a16="http://schemas.microsoft.com/office/drawing/2014/main" id="{42180DFF-03B4-4196-AEBC-F9CD1C7475AF}"/>
              </a:ext>
            </a:extLst>
          </p:cNvPr>
          <p:cNvSpPr>
            <a:spLocks noGrp="1"/>
          </p:cNvSpPr>
          <p:nvPr>
            <p:ph type="dt" sz="half" idx="10"/>
          </p:nvPr>
        </p:nvSpPr>
        <p:spPr>
          <a:xfrm>
            <a:off x="607219" y="4869657"/>
            <a:ext cx="1335882" cy="273844"/>
          </a:xfrm>
        </p:spPr>
        <p:txBody>
          <a:bodyPr/>
          <a:lstStyle>
            <a:lvl1pPr algn="ctr">
              <a:defRPr>
                <a:solidFill>
                  <a:schemeClr val="accent5">
                    <a:lumMod val="20000"/>
                    <a:lumOff val="80000"/>
                  </a:schemeClr>
                </a:solidFill>
              </a:defRPr>
            </a:lvl1pPr>
          </a:lstStyle>
          <a:p>
            <a:fld id="{4879B3C3-A2A0-4934-8D45-F81E7FC5DA70}" type="datetimeFigureOut">
              <a:rPr lang="en-US" smtClean="0">
                <a:solidFill>
                  <a:srgbClr val="5B9BD5">
                    <a:lumMod val="20000"/>
                    <a:lumOff val="80000"/>
                  </a:srgbClr>
                </a:solidFill>
              </a:rPr>
              <a:pPr/>
              <a:t>10/10/2019</a:t>
            </a:fld>
            <a:endParaRPr lang="en-US" dirty="0">
              <a:solidFill>
                <a:srgbClr val="5B9BD5">
                  <a:lumMod val="20000"/>
                  <a:lumOff val="80000"/>
                </a:srgbClr>
              </a:solidFill>
            </a:endParaRPr>
          </a:p>
        </p:txBody>
      </p:sp>
      <p:sp>
        <p:nvSpPr>
          <p:cNvPr id="5" name="Footer Placeholder 4">
            <a:extLst>
              <a:ext uri="{FF2B5EF4-FFF2-40B4-BE49-F238E27FC236}">
                <a16:creationId xmlns:a16="http://schemas.microsoft.com/office/drawing/2014/main" id="{486D8918-F756-45A3-8342-6B44516AB481}"/>
              </a:ext>
            </a:extLst>
          </p:cNvPr>
          <p:cNvSpPr>
            <a:spLocks noGrp="1"/>
          </p:cNvSpPr>
          <p:nvPr>
            <p:ph type="ftr" sz="quarter" idx="11"/>
          </p:nvPr>
        </p:nvSpPr>
        <p:spPr>
          <a:xfrm>
            <a:off x="2836069" y="4869656"/>
            <a:ext cx="3086100" cy="273844"/>
          </a:xfrm>
        </p:spPr>
        <p:txBody>
          <a:bodyPr/>
          <a:lstStyle>
            <a:lvl1pPr>
              <a:defRPr>
                <a:solidFill>
                  <a:schemeClr val="accent5">
                    <a:lumMod val="20000"/>
                    <a:lumOff val="80000"/>
                  </a:schemeClr>
                </a:solidFill>
              </a:defRPr>
            </a:lvl1pPr>
          </a:lstStyle>
          <a:p>
            <a:endParaRPr lang="en-US" dirty="0">
              <a:solidFill>
                <a:srgbClr val="5B9BD5">
                  <a:lumMod val="20000"/>
                  <a:lumOff val="80000"/>
                </a:srgbClr>
              </a:solidFill>
            </a:endParaRPr>
          </a:p>
        </p:txBody>
      </p:sp>
    </p:spTree>
    <p:extLst>
      <p:ext uri="{BB962C8B-B14F-4D97-AF65-F5344CB8AC3E}">
        <p14:creationId xmlns:p14="http://schemas.microsoft.com/office/powerpoint/2010/main" val="28535315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BCF33-50F6-4C0B-91CA-D89BE0BADD3C}"/>
              </a:ext>
            </a:extLst>
          </p:cNvPr>
          <p:cNvSpPr>
            <a:spLocks noGrp="1"/>
          </p:cNvSpPr>
          <p:nvPr>
            <p:ph type="title"/>
          </p:nvPr>
        </p:nvSpPr>
        <p:spPr/>
        <p:txBody>
          <a:bodyPr/>
          <a:lstStyle>
            <a:lvl1pPr>
              <a:defRPr b="1">
                <a:solidFill>
                  <a:srgbClr val="EF7622"/>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51745E-8FCA-4EA6-AB27-B0974F861B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89833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7DFCB-2347-45B8-80C6-6A3E2C5E50A2}"/>
              </a:ext>
            </a:extLst>
          </p:cNvPr>
          <p:cNvSpPr>
            <a:spLocks noGrp="1"/>
          </p:cNvSpPr>
          <p:nvPr>
            <p:ph type="title"/>
          </p:nvPr>
        </p:nvSpPr>
        <p:spPr>
          <a:xfrm>
            <a:off x="628650" y="260748"/>
            <a:ext cx="7886700" cy="2139553"/>
          </a:xfrm>
        </p:spPr>
        <p:txBody>
          <a:bodyPr anchor="b"/>
          <a:lstStyle>
            <a:lvl1pPr>
              <a:defRPr sz="4500" b="1">
                <a:solidFill>
                  <a:schemeClr val="accent2">
                    <a:lumMod val="20000"/>
                    <a:lumOff val="8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603AC8B-4CA9-42A1-A6C9-418427F29F89}"/>
              </a:ext>
            </a:extLst>
          </p:cNvPr>
          <p:cNvSpPr>
            <a:spLocks noGrp="1"/>
          </p:cNvSpPr>
          <p:nvPr>
            <p:ph type="body" idx="1"/>
          </p:nvPr>
        </p:nvSpPr>
        <p:spPr>
          <a:xfrm>
            <a:off x="628650" y="2420542"/>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044311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A6206-7E00-4E1A-9030-004775DD168C}"/>
              </a:ext>
            </a:extLst>
          </p:cNvPr>
          <p:cNvSpPr>
            <a:spLocks noGrp="1"/>
          </p:cNvSpPr>
          <p:nvPr>
            <p:ph type="title"/>
          </p:nvPr>
        </p:nvSpPr>
        <p:spPr/>
        <p:txBody>
          <a:bodyPr/>
          <a:lstStyle>
            <a:lvl1pPr>
              <a:defRPr b="1">
                <a:solidFill>
                  <a:srgbClr val="446CA9"/>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1D409145-286A-4DC5-9DF3-DDF28A2E07C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EA2F43-C806-4251-9FEF-543F7D8170FB}"/>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1793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DD938-CB1D-4FF7-B6FC-B15A521E92F7}"/>
              </a:ext>
            </a:extLst>
          </p:cNvPr>
          <p:cNvSpPr>
            <a:spLocks noGrp="1"/>
          </p:cNvSpPr>
          <p:nvPr>
            <p:ph type="title"/>
          </p:nvPr>
        </p:nvSpPr>
        <p:spPr>
          <a:xfrm>
            <a:off x="629841" y="273844"/>
            <a:ext cx="7886700" cy="994172"/>
          </a:xfrm>
        </p:spPr>
        <p:txBody>
          <a:bodyPr/>
          <a:lstStyle>
            <a:lvl1pPr>
              <a:defRPr b="1">
                <a:solidFill>
                  <a:srgbClr val="446CA9"/>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A9E4615-9ABA-49B8-954A-3BA88214198C}"/>
              </a:ext>
            </a:extLst>
          </p:cNvPr>
          <p:cNvSpPr>
            <a:spLocks noGrp="1"/>
          </p:cNvSpPr>
          <p:nvPr>
            <p:ph type="body" idx="1"/>
          </p:nvPr>
        </p:nvSpPr>
        <p:spPr>
          <a:xfrm>
            <a:off x="629842" y="1260872"/>
            <a:ext cx="3868340" cy="617934"/>
          </a:xfrm>
        </p:spPr>
        <p:txBody>
          <a:bodyPr anchor="b">
            <a:normAutofit/>
          </a:bodyPr>
          <a:lstStyle>
            <a:lvl1pPr marL="0" indent="0">
              <a:buNone/>
              <a:defRPr sz="2400" b="0">
                <a:solidFill>
                  <a:srgbClr val="EF762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F1902FE8-A058-4671-A267-866CE5836CD5}"/>
              </a:ext>
            </a:extLst>
          </p:cNvPr>
          <p:cNvSpPr>
            <a:spLocks noGrp="1"/>
          </p:cNvSpPr>
          <p:nvPr>
            <p:ph sz="half" idx="2"/>
          </p:nvPr>
        </p:nvSpPr>
        <p:spPr>
          <a:xfrm>
            <a:off x="629842" y="1878806"/>
            <a:ext cx="3868340" cy="276344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1E7361A-F08D-4094-8140-2D8B43E590B8}"/>
              </a:ext>
            </a:extLst>
          </p:cNvPr>
          <p:cNvSpPr>
            <a:spLocks noGrp="1"/>
          </p:cNvSpPr>
          <p:nvPr>
            <p:ph type="body" sz="quarter" idx="3"/>
          </p:nvPr>
        </p:nvSpPr>
        <p:spPr>
          <a:xfrm>
            <a:off x="4629150" y="1260872"/>
            <a:ext cx="3887391" cy="617934"/>
          </a:xfrm>
        </p:spPr>
        <p:txBody>
          <a:bodyPr anchor="b">
            <a:normAutofit/>
          </a:bodyPr>
          <a:lstStyle>
            <a:lvl1pPr marL="0" indent="0">
              <a:buNone/>
              <a:defRPr sz="2400" b="0">
                <a:solidFill>
                  <a:srgbClr val="EF762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169086B-1657-4B07-9A0F-FC426D961C2C}"/>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3079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title page with image lef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EF979D-7E56-7547-B8BB-956A1182E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54380" y="3133532"/>
            <a:ext cx="1848464" cy="639366"/>
          </a:xfrm>
          <a:prstGeom prst="rect">
            <a:avLst/>
          </a:prstGeom>
        </p:spPr>
      </p:pic>
      <p:sp>
        <p:nvSpPr>
          <p:cNvPr id="3" name="Picture Placeholder 2">
            <a:extLst>
              <a:ext uri="{FF2B5EF4-FFF2-40B4-BE49-F238E27FC236}">
                <a16:creationId xmlns:a16="http://schemas.microsoft.com/office/drawing/2014/main" id="{32FD02B3-E722-FC4B-82CF-14E77373EAE0}"/>
              </a:ext>
            </a:extLst>
          </p:cNvPr>
          <p:cNvSpPr>
            <a:spLocks noGrp="1"/>
          </p:cNvSpPr>
          <p:nvPr>
            <p:ph type="pic" sz="quarter" idx="10"/>
          </p:nvPr>
        </p:nvSpPr>
        <p:spPr>
          <a:xfrm>
            <a:off x="0" y="0"/>
            <a:ext cx="4572000" cy="5143500"/>
          </a:xfrm>
        </p:spPr>
        <p:txBody>
          <a:bodyPr/>
          <a:lstStyle/>
          <a:p>
            <a:endParaRPr lang="en-US"/>
          </a:p>
        </p:txBody>
      </p:sp>
      <p:sp>
        <p:nvSpPr>
          <p:cNvPr id="12" name="Title 8">
            <a:extLst>
              <a:ext uri="{FF2B5EF4-FFF2-40B4-BE49-F238E27FC236}">
                <a16:creationId xmlns:a16="http://schemas.microsoft.com/office/drawing/2014/main" id="{8F4AB58D-36CD-6649-8724-8391DFC1EABE}"/>
              </a:ext>
            </a:extLst>
          </p:cNvPr>
          <p:cNvSpPr>
            <a:spLocks noGrp="1"/>
          </p:cNvSpPr>
          <p:nvPr>
            <p:ph type="title" hasCustomPrompt="1"/>
          </p:nvPr>
        </p:nvSpPr>
        <p:spPr>
          <a:xfrm>
            <a:off x="4571999" y="1449999"/>
            <a:ext cx="4213226" cy="531455"/>
          </a:xfrm>
        </p:spPr>
        <p:txBody>
          <a:bodyPr anchor="t"/>
          <a:lstStyle>
            <a:lvl1pPr algn="ctr">
              <a:defRPr sz="2200">
                <a:solidFill>
                  <a:srgbClr val="E64626"/>
                </a:solidFill>
              </a:defRPr>
            </a:lvl1pPr>
          </a:lstStyle>
          <a:p>
            <a:r>
              <a:rPr lang="en-US" dirty="0"/>
              <a:t>Title heading here</a:t>
            </a:r>
          </a:p>
        </p:txBody>
      </p:sp>
      <p:sp>
        <p:nvSpPr>
          <p:cNvPr id="13" name="Text Placeholder 4">
            <a:extLst>
              <a:ext uri="{FF2B5EF4-FFF2-40B4-BE49-F238E27FC236}">
                <a16:creationId xmlns:a16="http://schemas.microsoft.com/office/drawing/2014/main" id="{41394B71-D786-7C49-9C6E-F1B862C690DB}"/>
              </a:ext>
            </a:extLst>
          </p:cNvPr>
          <p:cNvSpPr>
            <a:spLocks noGrp="1"/>
          </p:cNvSpPr>
          <p:nvPr>
            <p:ph type="body" sz="quarter" idx="13" hasCustomPrompt="1"/>
          </p:nvPr>
        </p:nvSpPr>
        <p:spPr>
          <a:xfrm>
            <a:off x="4571999" y="2081189"/>
            <a:ext cx="4213226" cy="531455"/>
          </a:xfrm>
        </p:spPr>
        <p:txBody>
          <a:bodyPr/>
          <a:lstStyle>
            <a:lvl1pPr marL="0" indent="0" algn="ctr">
              <a:lnSpc>
                <a:spcPct val="90000"/>
              </a:lnSpc>
              <a:buNone/>
              <a:defRPr sz="15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a:t>
            </a:r>
          </a:p>
        </p:txBody>
      </p:sp>
    </p:spTree>
    <p:extLst>
      <p:ext uri="{BB962C8B-B14F-4D97-AF65-F5344CB8AC3E}">
        <p14:creationId xmlns:p14="http://schemas.microsoft.com/office/powerpoint/2010/main" val="41997961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F7AAF-2BBF-4380-9A58-23F3D6D3F3CE}"/>
              </a:ext>
            </a:extLst>
          </p:cNvPr>
          <p:cNvSpPr>
            <a:spLocks noGrp="1"/>
          </p:cNvSpPr>
          <p:nvPr>
            <p:ph type="title"/>
          </p:nvPr>
        </p:nvSpPr>
        <p:spPr>
          <a:xfrm>
            <a:off x="628650" y="1202532"/>
            <a:ext cx="7886700" cy="994172"/>
          </a:xfrm>
        </p:spPr>
        <p:txBody>
          <a:bodyPr>
            <a:normAutofit/>
          </a:bodyPr>
          <a:lstStyle>
            <a:lvl1pPr>
              <a:defRPr sz="45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922678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540B-73CC-49AE-9C20-785089683822}"/>
              </a:ext>
            </a:extLst>
          </p:cNvPr>
          <p:cNvSpPr>
            <a:spLocks noGrp="1"/>
          </p:cNvSpPr>
          <p:nvPr>
            <p:ph type="title"/>
          </p:nvPr>
        </p:nvSpPr>
        <p:spPr>
          <a:xfrm>
            <a:off x="629841" y="544711"/>
            <a:ext cx="2949178" cy="1200150"/>
          </a:xfrm>
        </p:spPr>
        <p:txBody>
          <a:bodyPr anchor="b">
            <a:normAutofit/>
          </a:bodyPr>
          <a:lstStyle>
            <a:lvl1pPr>
              <a:defRPr sz="3300" b="1"/>
            </a:lvl1pPr>
          </a:lstStyle>
          <a:p>
            <a:r>
              <a:rPr lang="en-US" dirty="0"/>
              <a:t>Click to edit Master title style</a:t>
            </a:r>
          </a:p>
        </p:txBody>
      </p:sp>
      <p:sp>
        <p:nvSpPr>
          <p:cNvPr id="3" name="Picture Placeholder 2">
            <a:extLst>
              <a:ext uri="{FF2B5EF4-FFF2-40B4-BE49-F238E27FC236}">
                <a16:creationId xmlns:a16="http://schemas.microsoft.com/office/drawing/2014/main" id="{DE6B6DD9-C579-4256-A53A-AB5E9E899F4C}"/>
              </a:ext>
            </a:extLst>
          </p:cNvPr>
          <p:cNvSpPr>
            <a:spLocks noGrp="1"/>
          </p:cNvSpPr>
          <p:nvPr>
            <p:ph type="pic" idx="1"/>
          </p:nvPr>
        </p:nvSpPr>
        <p:spPr>
          <a:xfrm>
            <a:off x="3885009" y="1144786"/>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D3EEC68-B7AD-41A9-A7E2-A442FC8C66BD}"/>
              </a:ext>
            </a:extLst>
          </p:cNvPr>
          <p:cNvSpPr>
            <a:spLocks noGrp="1"/>
          </p:cNvSpPr>
          <p:nvPr>
            <p:ph type="body" sz="half" idx="2"/>
          </p:nvPr>
        </p:nvSpPr>
        <p:spPr>
          <a:xfrm>
            <a:off x="645318" y="1821657"/>
            <a:ext cx="2949178" cy="297834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34831452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64D38-740B-4143-AC65-384A0440D003}"/>
              </a:ext>
            </a:extLst>
          </p:cNvPr>
          <p:cNvSpPr>
            <a:spLocks noGrp="1"/>
          </p:cNvSpPr>
          <p:nvPr>
            <p:ph type="ctrTitle"/>
          </p:nvPr>
        </p:nvSpPr>
        <p:spPr>
          <a:xfrm>
            <a:off x="464344" y="341710"/>
            <a:ext cx="6858000" cy="1790700"/>
          </a:xfrm>
        </p:spPr>
        <p:txBody>
          <a:bodyPr anchor="b"/>
          <a:lstStyle>
            <a:lvl1pPr algn="ctr">
              <a:defRPr sz="4500" b="1">
                <a:solidFill>
                  <a:schemeClr val="bg1">
                    <a:lumMod val="95000"/>
                  </a:schemeClr>
                </a:solidFill>
              </a:defRPr>
            </a:lvl1pPr>
          </a:lstStyle>
          <a:p>
            <a:r>
              <a:rPr lang="en-US" dirty="0"/>
              <a:t>Click to edit Master title style</a:t>
            </a:r>
          </a:p>
        </p:txBody>
      </p:sp>
      <p:sp>
        <p:nvSpPr>
          <p:cNvPr id="3" name="Subtitle 2">
            <a:extLst>
              <a:ext uri="{FF2B5EF4-FFF2-40B4-BE49-F238E27FC236}">
                <a16:creationId xmlns:a16="http://schemas.microsoft.com/office/drawing/2014/main" id="{DCA52540-53B1-4F9A-9B57-DD1BD668A361}"/>
              </a:ext>
            </a:extLst>
          </p:cNvPr>
          <p:cNvSpPr>
            <a:spLocks noGrp="1"/>
          </p:cNvSpPr>
          <p:nvPr>
            <p:ph type="subTitle" idx="1"/>
          </p:nvPr>
        </p:nvSpPr>
        <p:spPr>
          <a:xfrm>
            <a:off x="464344" y="2201466"/>
            <a:ext cx="6858000" cy="1241822"/>
          </a:xfrm>
        </p:spPr>
        <p:txBody>
          <a:bodyPr/>
          <a:lstStyle>
            <a:lvl1pPr marL="0" indent="0" algn="ctr">
              <a:buNone/>
              <a:defRPr sz="1800">
                <a:solidFill>
                  <a:schemeClr val="bg1">
                    <a:lumMod val="9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a:extLst>
              <a:ext uri="{FF2B5EF4-FFF2-40B4-BE49-F238E27FC236}">
                <a16:creationId xmlns:a16="http://schemas.microsoft.com/office/drawing/2014/main" id="{42180DFF-03B4-4196-AEBC-F9CD1C7475AF}"/>
              </a:ext>
            </a:extLst>
          </p:cNvPr>
          <p:cNvSpPr>
            <a:spLocks noGrp="1"/>
          </p:cNvSpPr>
          <p:nvPr>
            <p:ph type="dt" sz="half" idx="10"/>
          </p:nvPr>
        </p:nvSpPr>
        <p:spPr>
          <a:xfrm>
            <a:off x="607219" y="4869657"/>
            <a:ext cx="1335882" cy="273844"/>
          </a:xfrm>
        </p:spPr>
        <p:txBody>
          <a:bodyPr/>
          <a:lstStyle>
            <a:lvl1pPr algn="ctr">
              <a:defRPr>
                <a:solidFill>
                  <a:schemeClr val="accent5">
                    <a:lumMod val="20000"/>
                    <a:lumOff val="80000"/>
                  </a:schemeClr>
                </a:solidFill>
              </a:defRPr>
            </a:lvl1pPr>
          </a:lstStyle>
          <a:p>
            <a:fld id="{4879B3C3-A2A0-4934-8D45-F81E7FC5DA70}" type="datetimeFigureOut">
              <a:rPr lang="en-US" smtClean="0">
                <a:solidFill>
                  <a:srgbClr val="5B9BD5">
                    <a:lumMod val="20000"/>
                    <a:lumOff val="80000"/>
                  </a:srgbClr>
                </a:solidFill>
              </a:rPr>
              <a:pPr/>
              <a:t>10/10/2019</a:t>
            </a:fld>
            <a:endParaRPr lang="en-US" dirty="0">
              <a:solidFill>
                <a:srgbClr val="5B9BD5">
                  <a:lumMod val="20000"/>
                  <a:lumOff val="80000"/>
                </a:srgbClr>
              </a:solidFill>
            </a:endParaRPr>
          </a:p>
        </p:txBody>
      </p:sp>
      <p:sp>
        <p:nvSpPr>
          <p:cNvPr id="5" name="Footer Placeholder 4">
            <a:extLst>
              <a:ext uri="{FF2B5EF4-FFF2-40B4-BE49-F238E27FC236}">
                <a16:creationId xmlns:a16="http://schemas.microsoft.com/office/drawing/2014/main" id="{486D8918-F756-45A3-8342-6B44516AB481}"/>
              </a:ext>
            </a:extLst>
          </p:cNvPr>
          <p:cNvSpPr>
            <a:spLocks noGrp="1"/>
          </p:cNvSpPr>
          <p:nvPr>
            <p:ph type="ftr" sz="quarter" idx="11"/>
          </p:nvPr>
        </p:nvSpPr>
        <p:spPr>
          <a:xfrm>
            <a:off x="2836069" y="4869656"/>
            <a:ext cx="3086100" cy="273844"/>
          </a:xfrm>
        </p:spPr>
        <p:txBody>
          <a:bodyPr/>
          <a:lstStyle>
            <a:lvl1pPr>
              <a:defRPr>
                <a:solidFill>
                  <a:schemeClr val="accent5">
                    <a:lumMod val="20000"/>
                    <a:lumOff val="80000"/>
                  </a:schemeClr>
                </a:solidFill>
              </a:defRPr>
            </a:lvl1pPr>
          </a:lstStyle>
          <a:p>
            <a:endParaRPr lang="en-US" dirty="0">
              <a:solidFill>
                <a:srgbClr val="5B9BD5">
                  <a:lumMod val="20000"/>
                  <a:lumOff val="80000"/>
                </a:srgbClr>
              </a:solidFill>
            </a:endParaRPr>
          </a:p>
        </p:txBody>
      </p:sp>
    </p:spTree>
    <p:extLst>
      <p:ext uri="{BB962C8B-B14F-4D97-AF65-F5344CB8AC3E}">
        <p14:creationId xmlns:p14="http://schemas.microsoft.com/office/powerpoint/2010/main" val="71997849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BCF33-50F6-4C0B-91CA-D89BE0BADD3C}"/>
              </a:ext>
            </a:extLst>
          </p:cNvPr>
          <p:cNvSpPr>
            <a:spLocks noGrp="1"/>
          </p:cNvSpPr>
          <p:nvPr>
            <p:ph type="title"/>
          </p:nvPr>
        </p:nvSpPr>
        <p:spPr/>
        <p:txBody>
          <a:bodyPr/>
          <a:lstStyle>
            <a:lvl1pPr>
              <a:defRPr b="1">
                <a:solidFill>
                  <a:srgbClr val="EF7622"/>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51745E-8FCA-4EA6-AB27-B0974F861B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11559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7DFCB-2347-45B8-80C6-6A3E2C5E50A2}"/>
              </a:ext>
            </a:extLst>
          </p:cNvPr>
          <p:cNvSpPr>
            <a:spLocks noGrp="1"/>
          </p:cNvSpPr>
          <p:nvPr>
            <p:ph type="title"/>
          </p:nvPr>
        </p:nvSpPr>
        <p:spPr>
          <a:xfrm>
            <a:off x="628650" y="260748"/>
            <a:ext cx="7886700" cy="2139553"/>
          </a:xfrm>
        </p:spPr>
        <p:txBody>
          <a:bodyPr anchor="b"/>
          <a:lstStyle>
            <a:lvl1pPr>
              <a:defRPr sz="4500" b="1">
                <a:solidFill>
                  <a:schemeClr val="accent2">
                    <a:lumMod val="20000"/>
                    <a:lumOff val="8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603AC8B-4CA9-42A1-A6C9-418427F29F89}"/>
              </a:ext>
            </a:extLst>
          </p:cNvPr>
          <p:cNvSpPr>
            <a:spLocks noGrp="1"/>
          </p:cNvSpPr>
          <p:nvPr>
            <p:ph type="body" idx="1"/>
          </p:nvPr>
        </p:nvSpPr>
        <p:spPr>
          <a:xfrm>
            <a:off x="628650" y="2420542"/>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796972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A6206-7E00-4E1A-9030-004775DD168C}"/>
              </a:ext>
            </a:extLst>
          </p:cNvPr>
          <p:cNvSpPr>
            <a:spLocks noGrp="1"/>
          </p:cNvSpPr>
          <p:nvPr>
            <p:ph type="title"/>
          </p:nvPr>
        </p:nvSpPr>
        <p:spPr/>
        <p:txBody>
          <a:bodyPr/>
          <a:lstStyle>
            <a:lvl1pPr>
              <a:defRPr b="1">
                <a:solidFill>
                  <a:srgbClr val="446CA9"/>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1D409145-286A-4DC5-9DF3-DDF28A2E07C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EA2F43-C806-4251-9FEF-543F7D8170FB}"/>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0174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DD938-CB1D-4FF7-B6FC-B15A521E92F7}"/>
              </a:ext>
            </a:extLst>
          </p:cNvPr>
          <p:cNvSpPr>
            <a:spLocks noGrp="1"/>
          </p:cNvSpPr>
          <p:nvPr>
            <p:ph type="title"/>
          </p:nvPr>
        </p:nvSpPr>
        <p:spPr>
          <a:xfrm>
            <a:off x="629841" y="273844"/>
            <a:ext cx="7886700" cy="994172"/>
          </a:xfrm>
        </p:spPr>
        <p:txBody>
          <a:bodyPr/>
          <a:lstStyle>
            <a:lvl1pPr>
              <a:defRPr b="1">
                <a:solidFill>
                  <a:srgbClr val="446CA9"/>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A9E4615-9ABA-49B8-954A-3BA88214198C}"/>
              </a:ext>
            </a:extLst>
          </p:cNvPr>
          <p:cNvSpPr>
            <a:spLocks noGrp="1"/>
          </p:cNvSpPr>
          <p:nvPr>
            <p:ph type="body" idx="1"/>
          </p:nvPr>
        </p:nvSpPr>
        <p:spPr>
          <a:xfrm>
            <a:off x="629842" y="1260872"/>
            <a:ext cx="3868340" cy="617934"/>
          </a:xfrm>
        </p:spPr>
        <p:txBody>
          <a:bodyPr anchor="b">
            <a:normAutofit/>
          </a:bodyPr>
          <a:lstStyle>
            <a:lvl1pPr marL="0" indent="0">
              <a:buNone/>
              <a:defRPr sz="2400" b="0">
                <a:solidFill>
                  <a:srgbClr val="EF762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F1902FE8-A058-4671-A267-866CE5836CD5}"/>
              </a:ext>
            </a:extLst>
          </p:cNvPr>
          <p:cNvSpPr>
            <a:spLocks noGrp="1"/>
          </p:cNvSpPr>
          <p:nvPr>
            <p:ph sz="half" idx="2"/>
          </p:nvPr>
        </p:nvSpPr>
        <p:spPr>
          <a:xfrm>
            <a:off x="629842" y="1878806"/>
            <a:ext cx="3868340" cy="276344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1E7361A-F08D-4094-8140-2D8B43E590B8}"/>
              </a:ext>
            </a:extLst>
          </p:cNvPr>
          <p:cNvSpPr>
            <a:spLocks noGrp="1"/>
          </p:cNvSpPr>
          <p:nvPr>
            <p:ph type="body" sz="quarter" idx="3"/>
          </p:nvPr>
        </p:nvSpPr>
        <p:spPr>
          <a:xfrm>
            <a:off x="4629150" y="1260872"/>
            <a:ext cx="3887391" cy="617934"/>
          </a:xfrm>
        </p:spPr>
        <p:txBody>
          <a:bodyPr anchor="b">
            <a:normAutofit/>
          </a:bodyPr>
          <a:lstStyle>
            <a:lvl1pPr marL="0" indent="0">
              <a:buNone/>
              <a:defRPr sz="2400" b="0">
                <a:solidFill>
                  <a:srgbClr val="EF762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169086B-1657-4B07-9A0F-FC426D961C2C}"/>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0556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F7AAF-2BBF-4380-9A58-23F3D6D3F3CE}"/>
              </a:ext>
            </a:extLst>
          </p:cNvPr>
          <p:cNvSpPr>
            <a:spLocks noGrp="1"/>
          </p:cNvSpPr>
          <p:nvPr>
            <p:ph type="title"/>
          </p:nvPr>
        </p:nvSpPr>
        <p:spPr>
          <a:xfrm>
            <a:off x="628650" y="1202532"/>
            <a:ext cx="7886700" cy="994172"/>
          </a:xfrm>
        </p:spPr>
        <p:txBody>
          <a:bodyPr>
            <a:normAutofit/>
          </a:bodyPr>
          <a:lstStyle>
            <a:lvl1pPr>
              <a:defRPr sz="45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453207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540B-73CC-49AE-9C20-785089683822}"/>
              </a:ext>
            </a:extLst>
          </p:cNvPr>
          <p:cNvSpPr>
            <a:spLocks noGrp="1"/>
          </p:cNvSpPr>
          <p:nvPr>
            <p:ph type="title"/>
          </p:nvPr>
        </p:nvSpPr>
        <p:spPr>
          <a:xfrm>
            <a:off x="629841" y="544711"/>
            <a:ext cx="2949178" cy="1200150"/>
          </a:xfrm>
        </p:spPr>
        <p:txBody>
          <a:bodyPr anchor="b">
            <a:normAutofit/>
          </a:bodyPr>
          <a:lstStyle>
            <a:lvl1pPr>
              <a:defRPr sz="3300" b="1"/>
            </a:lvl1pPr>
          </a:lstStyle>
          <a:p>
            <a:r>
              <a:rPr lang="en-US" dirty="0"/>
              <a:t>Click to edit Master title style</a:t>
            </a:r>
          </a:p>
        </p:txBody>
      </p:sp>
      <p:sp>
        <p:nvSpPr>
          <p:cNvPr id="3" name="Picture Placeholder 2">
            <a:extLst>
              <a:ext uri="{FF2B5EF4-FFF2-40B4-BE49-F238E27FC236}">
                <a16:creationId xmlns:a16="http://schemas.microsoft.com/office/drawing/2014/main" id="{DE6B6DD9-C579-4256-A53A-AB5E9E899F4C}"/>
              </a:ext>
            </a:extLst>
          </p:cNvPr>
          <p:cNvSpPr>
            <a:spLocks noGrp="1"/>
          </p:cNvSpPr>
          <p:nvPr>
            <p:ph type="pic" idx="1"/>
          </p:nvPr>
        </p:nvSpPr>
        <p:spPr>
          <a:xfrm>
            <a:off x="3885009" y="1144786"/>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D3EEC68-B7AD-41A9-A7E2-A442FC8C66BD}"/>
              </a:ext>
            </a:extLst>
          </p:cNvPr>
          <p:cNvSpPr>
            <a:spLocks noGrp="1"/>
          </p:cNvSpPr>
          <p:nvPr>
            <p:ph type="body" sz="half" idx="2"/>
          </p:nvPr>
        </p:nvSpPr>
        <p:spPr>
          <a:xfrm>
            <a:off x="645318" y="1821657"/>
            <a:ext cx="2949178" cy="297834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13105946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4B05E76-D472-47A0-843A-EC3338B1CC99}" type="datetimeFigureOut">
              <a:rPr lang="en-IN" smtClean="0"/>
              <a:t>10-10-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63AB2FB-F375-497F-830D-D6B20147F1C7}" type="slidenum">
              <a:rPr lang="en-IN" smtClean="0"/>
              <a:t>‹#›</a:t>
            </a:fld>
            <a:endParaRPr lang="en-IN"/>
          </a:p>
        </p:txBody>
      </p:sp>
    </p:spTree>
    <p:extLst>
      <p:ext uri="{BB962C8B-B14F-4D97-AF65-F5344CB8AC3E}">
        <p14:creationId xmlns:p14="http://schemas.microsoft.com/office/powerpoint/2010/main" val="24153854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theme" Target="../theme/theme2.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5.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title here</a:t>
            </a:r>
          </a:p>
        </p:txBody>
      </p:sp>
      <p:sp>
        <p:nvSpPr>
          <p:cNvPr id="1027" name="Text Placeholder 2"/>
          <p:cNvSpPr>
            <a:spLocks noGrp="1"/>
          </p:cNvSpPr>
          <p:nvPr>
            <p:ph type="body" idx="1"/>
          </p:nvPr>
        </p:nvSpPr>
        <p:spPr bwMode="auto">
          <a:xfrm>
            <a:off x="358775" y="1040583"/>
            <a:ext cx="4589253" cy="28716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dirty="0"/>
              <a:t>Sub-heading bold 20pt</a:t>
            </a:r>
          </a:p>
        </p:txBody>
      </p:sp>
      <p:sp>
        <p:nvSpPr>
          <p:cNvPr id="11" name="Date Placeholder 3"/>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37" r:id="rId1"/>
    <p:sldLayoutId id="2147483751" r:id="rId2"/>
    <p:sldLayoutId id="2147483753" r:id="rId3"/>
    <p:sldLayoutId id="2147483752" r:id="rId4"/>
    <p:sldLayoutId id="2147483754" r:id="rId5"/>
    <p:sldLayoutId id="2147483824" r:id="rId6"/>
    <p:sldLayoutId id="2147483825" r:id="rId7"/>
    <p:sldLayoutId id="2147483826" r:id="rId8"/>
    <p:sldLayoutId id="2147483755" r:id="rId9"/>
    <p:sldLayoutId id="2147483836" r:id="rId10"/>
    <p:sldLayoutId id="2147483828" r:id="rId11"/>
    <p:sldLayoutId id="2147483829" r:id="rId12"/>
    <p:sldLayoutId id="2147483837" r:id="rId13"/>
    <p:sldLayoutId id="2147483838" r:id="rId14"/>
    <p:sldLayoutId id="2147483839" r:id="rId15"/>
    <p:sldLayoutId id="2147483840" r:id="rId16"/>
    <p:sldLayoutId id="2147483841" r:id="rId17"/>
    <p:sldLayoutId id="2147483842" r:id="rId18"/>
    <p:sldLayoutId id="2147483843" r:id="rId19"/>
    <p:sldLayoutId id="2147483772" r:id="rId20"/>
    <p:sldLayoutId id="2147483844" r:id="rId21"/>
    <p:sldLayoutId id="2147483738" r:id="rId22"/>
    <p:sldLayoutId id="2147483758" r:id="rId23"/>
    <p:sldLayoutId id="2147483756" r:id="rId24"/>
    <p:sldLayoutId id="2147483765" r:id="rId25"/>
    <p:sldLayoutId id="2147483766" r:id="rId26"/>
    <p:sldLayoutId id="2147483761" r:id="rId27"/>
    <p:sldLayoutId id="2147483739" r:id="rId28"/>
    <p:sldLayoutId id="2147483740" r:id="rId29"/>
    <p:sldLayoutId id="2147483767" r:id="rId30"/>
    <p:sldLayoutId id="2147483741" r:id="rId31"/>
    <p:sldLayoutId id="2147483815" r:id="rId32"/>
    <p:sldLayoutId id="2147483743" r:id="rId33"/>
    <p:sldLayoutId id="2147483760" r:id="rId34"/>
    <p:sldLayoutId id="2147483768" r:id="rId35"/>
    <p:sldLayoutId id="2147483744" r:id="rId36"/>
    <p:sldLayoutId id="2147483769" r:id="rId37"/>
    <p:sldLayoutId id="2147483770" r:id="rId38"/>
    <p:sldLayoutId id="2147483776" r:id="rId39"/>
    <p:sldLayoutId id="2147483746" r:id="rId40"/>
    <p:sldLayoutId id="2147483729" r:id="rId41"/>
    <p:sldLayoutId id="2147483730" r:id="rId42"/>
    <p:sldLayoutId id="2147483747" r:id="rId43"/>
    <p:sldLayoutId id="2147483774" r:id="rId44"/>
    <p:sldLayoutId id="2147483775" r:id="rId45"/>
    <p:sldLayoutId id="2147483773" r:id="rId46"/>
    <p:sldLayoutId id="2147483736" r:id="rId47"/>
    <p:sldLayoutId id="2147483748" r:id="rId48"/>
    <p:sldLayoutId id="2147483749" r:id="rId49"/>
    <p:sldLayoutId id="2147483757" r:id="rId50"/>
    <p:sldLayoutId id="2147483862" r:id="rId51"/>
    <p:sldLayoutId id="2147483863" r:id="rId52"/>
    <p:sldLayoutId id="2147483865" r:id="rId53"/>
  </p:sldLayoutIdLst>
  <p:txStyles>
    <p:titleStyle>
      <a:lvl1pPr algn="l" defTabSz="457200" rtl="0" eaLnBrk="1" fontAlgn="base" hangingPunct="1">
        <a:spcBef>
          <a:spcPct val="0"/>
        </a:spcBef>
        <a:spcAft>
          <a:spcPct val="0"/>
        </a:spcAft>
        <a:defRPr sz="2400" b="1" kern="1200">
          <a:solidFill>
            <a:srgbClr val="E64626"/>
          </a:solidFill>
          <a:latin typeface="Arial" panose="020B0604020202020204" pitchFamily="34" charset="0"/>
          <a:ea typeface="ＭＳ Ｐゴシック" charset="0"/>
          <a:cs typeface="Arial" panose="020B0604020202020204" pitchFamily="34" charset="0"/>
        </a:defRPr>
      </a:lvl1pPr>
      <a:lvl2pPr algn="l" defTabSz="457200" rtl="0" eaLnBrk="1" fontAlgn="base" hangingPunct="1">
        <a:spcBef>
          <a:spcPct val="0"/>
        </a:spcBef>
        <a:spcAft>
          <a:spcPct val="0"/>
        </a:spcAft>
        <a:defRPr sz="2400" b="1">
          <a:solidFill>
            <a:schemeClr val="accent1"/>
          </a:solidFill>
          <a:latin typeface="Tw Cen MT" charset="0"/>
          <a:ea typeface="ＭＳ Ｐゴシック" charset="0"/>
        </a:defRPr>
      </a:lvl2pPr>
      <a:lvl3pPr algn="l" defTabSz="457200" rtl="0" eaLnBrk="1" fontAlgn="base" hangingPunct="1">
        <a:spcBef>
          <a:spcPct val="0"/>
        </a:spcBef>
        <a:spcAft>
          <a:spcPct val="0"/>
        </a:spcAft>
        <a:defRPr sz="2400" b="1">
          <a:solidFill>
            <a:schemeClr val="accent1"/>
          </a:solidFill>
          <a:latin typeface="Tw Cen MT" charset="0"/>
          <a:ea typeface="ＭＳ Ｐゴシック" charset="0"/>
        </a:defRPr>
      </a:lvl3pPr>
      <a:lvl4pPr algn="l" defTabSz="457200" rtl="0" eaLnBrk="1" fontAlgn="base" hangingPunct="1">
        <a:spcBef>
          <a:spcPct val="0"/>
        </a:spcBef>
        <a:spcAft>
          <a:spcPct val="0"/>
        </a:spcAft>
        <a:defRPr sz="2400" b="1">
          <a:solidFill>
            <a:schemeClr val="accent1"/>
          </a:solidFill>
          <a:latin typeface="Tw Cen MT" charset="0"/>
          <a:ea typeface="ＭＳ Ｐゴシック" charset="0"/>
        </a:defRPr>
      </a:lvl4pPr>
      <a:lvl5pPr algn="l" defTabSz="457200" rtl="0" eaLnBrk="1" fontAlgn="base" hangingPunct="1">
        <a:spcBef>
          <a:spcPct val="0"/>
        </a:spcBef>
        <a:spcAft>
          <a:spcPct val="0"/>
        </a:spcAft>
        <a:defRPr sz="2400" b="1">
          <a:solidFill>
            <a:schemeClr val="accent1"/>
          </a:solidFill>
          <a:latin typeface="Tw Cen MT" charset="0"/>
          <a:ea typeface="ＭＳ Ｐゴシック" charset="0"/>
        </a:defRPr>
      </a:lvl5pPr>
      <a:lvl6pPr marL="457200" algn="l" defTabSz="457200" rtl="0" eaLnBrk="1" fontAlgn="base" hangingPunct="1">
        <a:spcBef>
          <a:spcPct val="0"/>
        </a:spcBef>
        <a:spcAft>
          <a:spcPct val="0"/>
        </a:spcAft>
        <a:defRPr sz="2400" b="1">
          <a:solidFill>
            <a:schemeClr val="accent1"/>
          </a:solidFill>
          <a:latin typeface="Tw Cen MT" charset="0"/>
          <a:ea typeface="ＭＳ Ｐゴシック" charset="0"/>
        </a:defRPr>
      </a:lvl6pPr>
      <a:lvl7pPr marL="914400" algn="l" defTabSz="457200" rtl="0" eaLnBrk="1" fontAlgn="base" hangingPunct="1">
        <a:spcBef>
          <a:spcPct val="0"/>
        </a:spcBef>
        <a:spcAft>
          <a:spcPct val="0"/>
        </a:spcAft>
        <a:defRPr sz="2400" b="1">
          <a:solidFill>
            <a:schemeClr val="accent1"/>
          </a:solidFill>
          <a:latin typeface="Tw Cen MT" charset="0"/>
          <a:ea typeface="ＭＳ Ｐゴシック" charset="0"/>
        </a:defRPr>
      </a:lvl7pPr>
      <a:lvl8pPr marL="1371600" algn="l" defTabSz="457200" rtl="0" eaLnBrk="1" fontAlgn="base" hangingPunct="1">
        <a:spcBef>
          <a:spcPct val="0"/>
        </a:spcBef>
        <a:spcAft>
          <a:spcPct val="0"/>
        </a:spcAft>
        <a:defRPr sz="2400" b="1">
          <a:solidFill>
            <a:schemeClr val="accent1"/>
          </a:solidFill>
          <a:latin typeface="Tw Cen MT" charset="0"/>
          <a:ea typeface="ＭＳ Ｐゴシック" charset="0"/>
        </a:defRPr>
      </a:lvl8pPr>
      <a:lvl9pPr marL="1828800" algn="l" defTabSz="457200" rtl="0" eaLnBrk="1" fontAlgn="base" hangingPunct="1">
        <a:spcBef>
          <a:spcPct val="0"/>
        </a:spcBef>
        <a:spcAft>
          <a:spcPct val="0"/>
        </a:spcAft>
        <a:defRPr sz="2400" b="1">
          <a:solidFill>
            <a:schemeClr val="accent1"/>
          </a:solidFill>
          <a:latin typeface="Tw Cen MT" charset="0"/>
          <a:ea typeface="ＭＳ Ｐゴシック" charset="0"/>
        </a:defRPr>
      </a:lvl9pPr>
    </p:titleStyle>
    <p:bodyStyle>
      <a:lvl1pPr marL="0" indent="0" algn="l" defTabSz="457200" rtl="0" eaLnBrk="1" fontAlgn="base" hangingPunct="1">
        <a:spcBef>
          <a:spcPct val="20000"/>
        </a:spcBef>
        <a:spcAft>
          <a:spcPct val="0"/>
        </a:spcAft>
        <a:buFont typeface="Lucida Grande" charset="0"/>
        <a:buNone/>
        <a:defRPr sz="2000" b="1" kern="1200">
          <a:solidFill>
            <a:schemeClr val="tx1"/>
          </a:solidFill>
          <a:latin typeface="Arial" panose="020B0604020202020204" pitchFamily="34" charset="0"/>
          <a:ea typeface="ＭＳ Ｐゴシック" charset="0"/>
          <a:cs typeface="Arial" panose="020B0604020202020204" pitchFamily="34" charset="0"/>
        </a:defRPr>
      </a:lvl1pPr>
      <a:lvl2pPr marL="742950" indent="-285750" algn="l" defTabSz="457200" rtl="0" eaLnBrk="1" fontAlgn="base" hangingPunct="1">
        <a:spcBef>
          <a:spcPct val="20000"/>
        </a:spcBef>
        <a:spcAft>
          <a:spcPct val="0"/>
        </a:spcAft>
        <a:buFont typeface="Arial" charset="0"/>
        <a:buChar char="–"/>
        <a:defRPr sz="2000" kern="1200">
          <a:solidFill>
            <a:schemeClr val="tx1"/>
          </a:solidFill>
          <a:latin typeface="Tw Cen MT"/>
          <a:ea typeface="ＭＳ Ｐゴシック" charset="0"/>
          <a:cs typeface="Tw Cen MT"/>
        </a:defRPr>
      </a:lvl2pPr>
      <a:lvl3pPr marL="1143000" indent="-228600" algn="l" defTabSz="457200" rtl="0" eaLnBrk="1" fontAlgn="base" hangingPunct="1">
        <a:spcBef>
          <a:spcPct val="20000"/>
        </a:spcBef>
        <a:spcAft>
          <a:spcPct val="0"/>
        </a:spcAft>
        <a:buFont typeface="Arial" charset="0"/>
        <a:buChar char="•"/>
        <a:defRPr sz="2000" kern="1200">
          <a:solidFill>
            <a:schemeClr val="tx1"/>
          </a:solidFill>
          <a:latin typeface="Tw Cen MT"/>
          <a:ea typeface="ＭＳ Ｐゴシック" charset="0"/>
          <a:cs typeface="Tw Cen MT"/>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Tw Cen MT"/>
          <a:ea typeface="ＭＳ Ｐゴシック" charset="0"/>
          <a:cs typeface="Tw Cen MT"/>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Tw Cen MT"/>
          <a:ea typeface="ＭＳ Ｐゴシック" charset="0"/>
          <a:cs typeface="Tw Cen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7" userDrawn="1">
          <p15:clr>
            <a:srgbClr val="F26B43"/>
          </p15:clr>
        </p15:guide>
        <p15:guide id="2" pos="226" userDrawn="1">
          <p15:clr>
            <a:srgbClr val="F26B43"/>
          </p15:clr>
        </p15:guide>
        <p15:guide id="3" pos="5534" userDrawn="1">
          <p15:clr>
            <a:srgbClr val="F26B43"/>
          </p15:clr>
        </p15:guide>
        <p15:guide id="4" orient="horz" pos="30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Slide Number Placeholder 5"/>
          <p:cNvSpPr txBox="1">
            <a:spLocks/>
          </p:cNvSpPr>
          <p:nvPr/>
        </p:nvSpPr>
        <p:spPr>
          <a:xfrm>
            <a:off x="6629400" y="4767263"/>
            <a:ext cx="2133600" cy="273844"/>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75" dirty="0"/>
              <a:t>Page </a:t>
            </a:r>
            <a:fld id="{3B11C02F-2186-5E4E-90C0-5210A150EF90}" type="slidenum">
              <a:rPr lang="en-US" sz="675" smtClean="0"/>
              <a:pPr fontAlgn="auto">
                <a:spcBef>
                  <a:spcPts val="0"/>
                </a:spcBef>
                <a:spcAft>
                  <a:spcPts val="0"/>
                </a:spcAft>
                <a:defRPr/>
              </a:pPr>
              <a:t>‹#›</a:t>
            </a:fld>
            <a:endParaRPr lang="en-US" sz="675" dirty="0"/>
          </a:p>
        </p:txBody>
      </p:sp>
      <p:sp>
        <p:nvSpPr>
          <p:cNvPr id="6" name="Date Placeholder 3">
            <a:extLst>
              <a:ext uri="{FF2B5EF4-FFF2-40B4-BE49-F238E27FC236}">
                <a16:creationId xmlns:a16="http://schemas.microsoft.com/office/drawing/2014/main" id="{B454F75B-D7A2-4B14-8535-B803517C2A15}"/>
              </a:ext>
            </a:extLst>
          </p:cNvPr>
          <p:cNvSpPr txBox="1">
            <a:spLocks/>
          </p:cNvSpPr>
          <p:nvPr userDrawn="1"/>
        </p:nvSpPr>
        <p:spPr>
          <a:xfrm>
            <a:off x="381000" y="4767263"/>
            <a:ext cx="2133600" cy="274637"/>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dirty="0">
                <a:latin typeface="Arial" panose="020B0604020202020204" pitchFamily="34" charset="0"/>
                <a:cs typeface="Arial" panose="020B0604020202020204" pitchFamily="34" charset="0"/>
              </a:rPr>
              <a:t>The </a:t>
            </a:r>
            <a:r>
              <a:rPr lang="en-AU" dirty="0">
                <a:latin typeface="Arial" panose="020B0604020202020204" pitchFamily="34" charset="0"/>
                <a:cs typeface="Arial" panose="020B0604020202020204" pitchFamily="34" charset="0"/>
              </a:rPr>
              <a:t>University of Sydney</a:t>
            </a:r>
            <a:endParaRPr dirty="0">
              <a:latin typeface="Arial" panose="020B0604020202020204" pitchFamily="34" charset="0"/>
              <a:cs typeface="Arial" panose="020B0604020202020204" pitchFamily="34" charset="0"/>
            </a:endParaRPr>
          </a:p>
        </p:txBody>
      </p:sp>
      <p:sp>
        <p:nvSpPr>
          <p:cNvPr id="7" name="Title Placeholder 1">
            <a:extLst>
              <a:ext uri="{FF2B5EF4-FFF2-40B4-BE49-F238E27FC236}">
                <a16:creationId xmlns:a16="http://schemas.microsoft.com/office/drawing/2014/main" id="{BE9EF11D-F5BE-ED40-AB5F-104A2C9A67EF}"/>
              </a:ext>
            </a:extLst>
          </p:cNvPr>
          <p:cNvSpPr>
            <a:spLocks noGrp="1"/>
          </p:cNvSpPr>
          <p:nvPr>
            <p:ph type="title"/>
          </p:nvPr>
        </p:nvSpPr>
        <p:spPr bwMode="auto">
          <a:xfrm>
            <a:off x="358775" y="376238"/>
            <a:ext cx="8426450" cy="485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Insert title here</a:t>
            </a:r>
          </a:p>
        </p:txBody>
      </p:sp>
      <p:sp>
        <p:nvSpPr>
          <p:cNvPr id="8" name="Text Placeholder 2">
            <a:extLst>
              <a:ext uri="{FF2B5EF4-FFF2-40B4-BE49-F238E27FC236}">
                <a16:creationId xmlns:a16="http://schemas.microsoft.com/office/drawing/2014/main" id="{31D8007C-8639-1A4A-A2BB-5F88DD41E22F}"/>
              </a:ext>
            </a:extLst>
          </p:cNvPr>
          <p:cNvSpPr>
            <a:spLocks noGrp="1"/>
          </p:cNvSpPr>
          <p:nvPr>
            <p:ph type="body" idx="1"/>
          </p:nvPr>
        </p:nvSpPr>
        <p:spPr bwMode="auto">
          <a:xfrm>
            <a:off x="358775" y="1040583"/>
            <a:ext cx="4589253" cy="36645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dirty="0"/>
              <a:t>Sub-heading Bold… 20pt</a:t>
            </a:r>
          </a:p>
          <a:p>
            <a:pPr lvl="0"/>
            <a:r>
              <a:rPr lang="en-US" dirty="0"/>
              <a:t>Add body copy </a:t>
            </a:r>
          </a:p>
        </p:txBody>
      </p:sp>
    </p:spTree>
    <p:extLst>
      <p:ext uri="{BB962C8B-B14F-4D97-AF65-F5344CB8AC3E}">
        <p14:creationId xmlns:p14="http://schemas.microsoft.com/office/powerpoint/2010/main" val="222860988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816" r:id="rId4"/>
    <p:sldLayoutId id="2147483817" r:id="rId5"/>
    <p:sldLayoutId id="2147483818" r:id="rId6"/>
    <p:sldLayoutId id="2147483819" r:id="rId7"/>
    <p:sldLayoutId id="2147483820" r:id="rId8"/>
    <p:sldLayoutId id="2147483821" r:id="rId9"/>
    <p:sldLayoutId id="2147483794" r:id="rId10"/>
    <p:sldLayoutId id="2147483845" r:id="rId11"/>
    <p:sldLayoutId id="2147483795" r:id="rId12"/>
    <p:sldLayoutId id="2147483796" r:id="rId13"/>
    <p:sldLayoutId id="2147483798" r:id="rId14"/>
    <p:sldLayoutId id="2147483799" r:id="rId15"/>
    <p:sldLayoutId id="2147483800" r:id="rId16"/>
    <p:sldLayoutId id="2147483801" r:id="rId17"/>
    <p:sldLayoutId id="2147483822" r:id="rId18"/>
    <p:sldLayoutId id="2147483797" r:id="rId19"/>
    <p:sldLayoutId id="2147483814" r:id="rId20"/>
    <p:sldLayoutId id="2147483802" r:id="rId21"/>
    <p:sldLayoutId id="2147483803" r:id="rId22"/>
    <p:sldLayoutId id="2147483804" r:id="rId23"/>
    <p:sldLayoutId id="2147483805" r:id="rId24"/>
    <p:sldLayoutId id="2147483806" r:id="rId25"/>
    <p:sldLayoutId id="2147483807" r:id="rId26"/>
    <p:sldLayoutId id="2147483808" r:id="rId27"/>
    <p:sldLayoutId id="2147483810" r:id="rId28"/>
    <p:sldLayoutId id="2147483811" r:id="rId29"/>
    <p:sldLayoutId id="2147483812" r:id="rId30"/>
    <p:sldLayoutId id="2147483813" r:id="rId31"/>
  </p:sldLayoutIdLst>
  <p:txStyles>
    <p:titleStyle>
      <a:lvl1pPr algn="l" defTabSz="342900" rtl="0" eaLnBrk="1" fontAlgn="base" hangingPunct="1">
        <a:spcBef>
          <a:spcPct val="0"/>
        </a:spcBef>
        <a:spcAft>
          <a:spcPct val="0"/>
        </a:spcAft>
        <a:defRPr sz="2400" b="1" kern="1200">
          <a:solidFill>
            <a:schemeClr val="accent1"/>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p:titleStyle>
    <p:bodyStyle>
      <a:lvl1pPr marL="257175" indent="-257175" algn="l" defTabSz="342900" rtl="0" eaLnBrk="1" fontAlgn="base" hangingPunct="1">
        <a:spcBef>
          <a:spcPct val="20000"/>
        </a:spcBef>
        <a:spcAft>
          <a:spcPct val="0"/>
        </a:spcAft>
        <a:buFont typeface="Lucida Grande" charset="0"/>
        <a:buChar char="–"/>
        <a:defRPr sz="2400" b="1" kern="1200">
          <a:solidFill>
            <a:schemeClr val="tx1"/>
          </a:solidFill>
          <a:latin typeface="Tw Cen MT"/>
          <a:ea typeface="ＭＳ Ｐゴシック" charset="0"/>
          <a:cs typeface="Tw Cen MT"/>
        </a:defRPr>
      </a:lvl1pPr>
      <a:lvl2pPr marL="557213" indent="-214313"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EDCF34-004C-456C-9BDC-5624160F677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581ABF-A750-49FF-8810-DD600F2792F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56D40D-2D40-461D-B00C-2F78B6DC1640}"/>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4879B3C3-A2A0-4934-8D45-F81E7FC5DA70}" type="datetimeFigureOut">
              <a:rPr lang="en-US" smtClean="0">
                <a:solidFill>
                  <a:prstClr val="black">
                    <a:tint val="75000"/>
                  </a:prstClr>
                </a:solidFill>
                <a:latin typeface="Calibri" panose="020F0502020204030204"/>
                <a:ea typeface="+mn-ea"/>
                <a:cs typeface="+mn-cs"/>
              </a:rPr>
              <a:pPr defTabSz="685800" fontAlgn="auto">
                <a:spcBef>
                  <a:spcPts val="0"/>
                </a:spcBef>
                <a:spcAft>
                  <a:spcPts val="0"/>
                </a:spcAft>
              </a:pPr>
              <a:t>10/10/2019</a:t>
            </a:fld>
            <a:endParaRPr lang="en-US">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D0E22F0-B9BE-420C-9E14-F7F65D18640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US">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9C24353A-0FC2-41A2-9A6D-0536EC4CBC6A}"/>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344F5B29-BEA2-46CF-8969-A9D44B5BC61B}" type="slidenum">
              <a:rPr lang="en-US" smtClean="0">
                <a:solidFill>
                  <a:prstClr val="black">
                    <a:tint val="75000"/>
                  </a:prstClr>
                </a:solidFill>
                <a:latin typeface="Calibri" panose="020F0502020204030204"/>
                <a:ea typeface="+mn-ea"/>
                <a:cs typeface="+mn-cs"/>
              </a:rPr>
              <a:pPr defTabSz="685800" fontAlgn="auto">
                <a:spcBef>
                  <a:spcPts val="0"/>
                </a:spcBef>
                <a:spcAft>
                  <a:spcPts val="0"/>
                </a:spcAft>
              </a:pPr>
              <a:t>‹#›</a:t>
            </a:fld>
            <a:endParaRPr lang="en-US">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122201389"/>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EDCF34-004C-456C-9BDC-5624160F677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581ABF-A750-49FF-8810-DD600F2792F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56D40D-2D40-461D-B00C-2F78B6DC1640}"/>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4879B3C3-A2A0-4934-8D45-F81E7FC5DA70}" type="datetimeFigureOut">
              <a:rPr lang="en-US" smtClean="0">
                <a:solidFill>
                  <a:prstClr val="black">
                    <a:tint val="75000"/>
                  </a:prstClr>
                </a:solidFill>
                <a:latin typeface="Calibri" panose="020F0502020204030204"/>
                <a:ea typeface="+mn-ea"/>
                <a:cs typeface="+mn-cs"/>
              </a:rPr>
              <a:pPr defTabSz="685800" fontAlgn="auto">
                <a:spcBef>
                  <a:spcPts val="0"/>
                </a:spcBef>
                <a:spcAft>
                  <a:spcPts val="0"/>
                </a:spcAft>
              </a:pPr>
              <a:t>10/10/2019</a:t>
            </a:fld>
            <a:endParaRPr lang="en-US">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D0E22F0-B9BE-420C-9E14-F7F65D18640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US">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9C24353A-0FC2-41A2-9A6D-0536EC4CBC6A}"/>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344F5B29-BEA2-46CF-8969-A9D44B5BC61B}" type="slidenum">
              <a:rPr lang="en-US" smtClean="0">
                <a:solidFill>
                  <a:prstClr val="black">
                    <a:tint val="75000"/>
                  </a:prstClr>
                </a:solidFill>
                <a:latin typeface="Calibri" panose="020F0502020204030204"/>
                <a:ea typeface="+mn-ea"/>
                <a:cs typeface="+mn-cs"/>
              </a:rPr>
              <a:pPr defTabSz="685800" fontAlgn="auto">
                <a:spcBef>
                  <a:spcPts val="0"/>
                </a:spcBef>
                <a:spcAft>
                  <a:spcPts val="0"/>
                </a:spcAft>
              </a:pPr>
              <a:t>‹#›</a:t>
            </a:fld>
            <a:endParaRPr lang="en-US">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2566471960"/>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4B05E76-D472-47A0-843A-EC3338B1CC99}" type="datetimeFigureOut">
              <a:rPr lang="en-IN" smtClean="0"/>
              <a:t>10-10-2019</a:t>
            </a:fld>
            <a:endParaRPr lang="en-IN"/>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N"/>
          </a:p>
        </p:txBody>
      </p:sp>
      <p:sp>
        <p:nvSpPr>
          <p:cNvPr id="13" name="Rectangle 12"/>
          <p:cNvSpPr/>
          <p:nvPr userDrawn="1"/>
        </p:nvSpPr>
        <p:spPr>
          <a:xfrm>
            <a:off x="8903495" y="4863225"/>
            <a:ext cx="228600" cy="142875"/>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Footer Placeholder 4"/>
          <p:cNvSpPr txBox="1">
            <a:spLocks/>
          </p:cNvSpPr>
          <p:nvPr userDrawn="1"/>
        </p:nvSpPr>
        <p:spPr>
          <a:xfrm>
            <a:off x="8492449" y="486084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pitchFamily="34" charset="0"/>
                <a:ea typeface="+mn-ea"/>
                <a:cs typeface="Arial" pitchFamily="34" charset="0"/>
              </a:rPr>
              <a:t>©</a:t>
            </a:r>
          </a:p>
        </p:txBody>
      </p:sp>
      <p:sp>
        <p:nvSpPr>
          <p:cNvPr id="15" name="Freeform 5"/>
          <p:cNvSpPr>
            <a:spLocks noEditPoints="1"/>
          </p:cNvSpPr>
          <p:nvPr userDrawn="1"/>
        </p:nvSpPr>
        <p:spPr bwMode="auto">
          <a:xfrm>
            <a:off x="8594721" y="4863225"/>
            <a:ext cx="282581" cy="109457"/>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16" name="Shape 257"/>
          <p:cNvSpPr txBox="1">
            <a:spLocks/>
          </p:cNvSpPr>
          <p:nvPr userDrawn="1"/>
        </p:nvSpPr>
        <p:spPr>
          <a:xfrm>
            <a:off x="8869969" y="4818904"/>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fld id="{86CB4B4D-7CA3-9044-876B-883B54F8677D}" type="slidenum">
              <a:rPr kumimoji="0" lang="en-GB" sz="600" b="0" i="0" u="none" strike="noStrike" kern="0" cap="none" spc="0" normalizeH="0" baseline="0" noProof="0" smtClean="0">
                <a:ln>
                  <a:noFill/>
                </a:ln>
                <a:solidFill>
                  <a:srgbClr val="808080"/>
                </a:solidFill>
                <a:effectLst/>
                <a:uLnTx/>
                <a:uFillTx/>
                <a:latin typeface="Arial" pitchFamily="34" charset="0"/>
                <a:cs typeface="Arial" pitchFamily="34" charset="0"/>
                <a:sym typeface="Arial"/>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GB" sz="600" b="0" i="0" u="none" strike="noStrike" kern="0" cap="none" spc="0" normalizeH="0" baseline="0" noProof="0">
              <a:ln>
                <a:noFill/>
              </a:ln>
              <a:solidFill>
                <a:srgbClr val="808080"/>
              </a:solidFill>
              <a:effectLst/>
              <a:uLnTx/>
              <a:uFillTx/>
              <a:latin typeface="Arial" pitchFamily="34" charset="0"/>
              <a:cs typeface="Arial" pitchFamily="34" charset="0"/>
              <a:sym typeface="Arial"/>
            </a:endParaRPr>
          </a:p>
        </p:txBody>
      </p:sp>
    </p:spTree>
    <p:extLst>
      <p:ext uri="{BB962C8B-B14F-4D97-AF65-F5344CB8AC3E}">
        <p14:creationId xmlns:p14="http://schemas.microsoft.com/office/powerpoint/2010/main" val="4002680713"/>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52.xml"/><Relationship Id="rId7" Type="http://schemas.openxmlformats.org/officeDocument/2006/relationships/image" Target="../media/image5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2.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hyperlink" Target="https://en.wikipedia.org/wiki/Jacaranda,_University_of_Sydney" TargetMode="Externa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5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5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67.emf"/><Relationship Id="rId2" Type="http://schemas.openxmlformats.org/officeDocument/2006/relationships/notesSlide" Target="../notesSlides/notesSlide18.xml"/><Relationship Id="rId1" Type="http://schemas.openxmlformats.org/officeDocument/2006/relationships/slideLayout" Target="../slideLayouts/slideLayout53.xml"/><Relationship Id="rId6" Type="http://schemas.openxmlformats.org/officeDocument/2006/relationships/image" Target="../media/image66.JPG"/><Relationship Id="rId5" Type="http://schemas.openxmlformats.org/officeDocument/2006/relationships/image" Target="../media/image65.JPG"/><Relationship Id="rId4" Type="http://schemas.openxmlformats.org/officeDocument/2006/relationships/image" Target="../media/image6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98.xml"/><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7" Type="http://schemas.openxmlformats.org/officeDocument/2006/relationships/hyperlink" Target="mailto:Chandrashekaran.sury@Wipro.com" TargetMode="External"/><Relationship Id="rId2" Type="http://schemas.openxmlformats.org/officeDocument/2006/relationships/notesSlide" Target="../notesSlides/notesSlide22.xml"/><Relationship Id="rId1" Type="http://schemas.openxmlformats.org/officeDocument/2006/relationships/slideLayout" Target="../slideLayouts/slideLayout98.xml"/><Relationship Id="rId6" Type="http://schemas.openxmlformats.org/officeDocument/2006/relationships/hyperlink" Target="https://www.linkedin.com/in/shekaransury/" TargetMode="External"/><Relationship Id="rId5" Type="http://schemas.openxmlformats.org/officeDocument/2006/relationships/hyperlink" Target="https://intranet.sydney.edu.au/services/iap.html" TargetMode="External"/><Relationship Id="rId4" Type="http://schemas.openxmlformats.org/officeDocument/2006/relationships/hyperlink" Target="mailto:christina.clark@sydney.edu.au"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515F1-A912-4928-87F0-1BCD1B1A6C8E}"/>
              </a:ext>
            </a:extLst>
          </p:cNvPr>
          <p:cNvSpPr>
            <a:spLocks noGrp="1"/>
          </p:cNvSpPr>
          <p:nvPr>
            <p:ph type="ctrTitle"/>
          </p:nvPr>
        </p:nvSpPr>
        <p:spPr>
          <a:xfrm>
            <a:off x="165765" y="341710"/>
            <a:ext cx="6858000" cy="1076543"/>
          </a:xfrm>
        </p:spPr>
        <p:txBody>
          <a:bodyPr/>
          <a:lstStyle/>
          <a:p>
            <a:pPr algn="l"/>
            <a:r>
              <a:rPr lang="en-US" dirty="0" smtClean="0"/>
              <a:t>Unlearning Decision-Making</a:t>
            </a:r>
            <a:endParaRPr lang="en-US" dirty="0"/>
          </a:p>
        </p:txBody>
      </p:sp>
      <p:sp>
        <p:nvSpPr>
          <p:cNvPr id="3" name="Subtitle 2">
            <a:extLst>
              <a:ext uri="{FF2B5EF4-FFF2-40B4-BE49-F238E27FC236}">
                <a16:creationId xmlns:a16="http://schemas.microsoft.com/office/drawing/2014/main" id="{459E0EE9-0655-42A9-8455-EF00DEF1FB03}"/>
              </a:ext>
            </a:extLst>
          </p:cNvPr>
          <p:cNvSpPr>
            <a:spLocks noGrp="1"/>
          </p:cNvSpPr>
          <p:nvPr>
            <p:ph type="subTitle" idx="1"/>
          </p:nvPr>
        </p:nvSpPr>
        <p:spPr>
          <a:xfrm>
            <a:off x="165765" y="1703833"/>
            <a:ext cx="4064113" cy="1241822"/>
          </a:xfrm>
        </p:spPr>
        <p:txBody>
          <a:bodyPr/>
          <a:lstStyle/>
          <a:p>
            <a:pPr algn="l"/>
            <a:r>
              <a:rPr lang="en-US" dirty="0" smtClean="0"/>
              <a:t>Christy Clark</a:t>
            </a:r>
          </a:p>
          <a:p>
            <a:pPr algn="l"/>
            <a:r>
              <a:rPr lang="en-US" dirty="0" smtClean="0"/>
              <a:t>Manager, Institutional Analytics Services</a:t>
            </a:r>
          </a:p>
          <a:p>
            <a:pPr algn="l"/>
            <a:r>
              <a:rPr lang="en-US" b="1" dirty="0" smtClean="0"/>
              <a:t>The University of Sydney</a:t>
            </a:r>
            <a:endParaRPr lang="en-US" b="1" dirty="0"/>
          </a:p>
        </p:txBody>
      </p:sp>
      <p:sp>
        <p:nvSpPr>
          <p:cNvPr id="4" name="Subtitle 2">
            <a:extLst>
              <a:ext uri="{FF2B5EF4-FFF2-40B4-BE49-F238E27FC236}">
                <a16:creationId xmlns:a16="http://schemas.microsoft.com/office/drawing/2014/main" id="{459E0EE9-0655-42A9-8455-EF00DEF1FB03}"/>
              </a:ext>
            </a:extLst>
          </p:cNvPr>
          <p:cNvSpPr txBox="1">
            <a:spLocks/>
          </p:cNvSpPr>
          <p:nvPr/>
        </p:nvSpPr>
        <p:spPr>
          <a:xfrm>
            <a:off x="165765" y="3187692"/>
            <a:ext cx="4648832" cy="1241822"/>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bg1">
                    <a:lumMod val="9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fontAlgn="auto">
              <a:spcAft>
                <a:spcPts val="0"/>
              </a:spcAft>
            </a:pPr>
            <a:r>
              <a:rPr lang="en-US" dirty="0" smtClean="0"/>
              <a:t>Shekaran Sury</a:t>
            </a:r>
          </a:p>
          <a:p>
            <a:pPr algn="l" fontAlgn="auto">
              <a:spcAft>
                <a:spcPts val="0"/>
              </a:spcAft>
            </a:pPr>
            <a:r>
              <a:rPr lang="en-US" dirty="0" smtClean="0"/>
              <a:t>Global Head, Analytics &amp; AI Consulting</a:t>
            </a:r>
          </a:p>
          <a:p>
            <a:pPr algn="l" fontAlgn="auto">
              <a:spcAft>
                <a:spcPts val="0"/>
              </a:spcAft>
            </a:pPr>
            <a:r>
              <a:rPr lang="en-US" b="1" dirty="0" smtClean="0"/>
              <a:t>Wipro</a:t>
            </a:r>
            <a:endParaRPr lang="en-US" b="1" dirty="0"/>
          </a:p>
        </p:txBody>
      </p:sp>
    </p:spTree>
    <p:extLst>
      <p:ext uri="{BB962C8B-B14F-4D97-AF65-F5344CB8AC3E}">
        <p14:creationId xmlns:p14="http://schemas.microsoft.com/office/powerpoint/2010/main" val="16451912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08FDD5-C877-9E4B-BD81-04660B9F070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81600"/>
          </a:xfrm>
          <a:prstGeom prst="rect">
            <a:avLst/>
          </a:prstGeom>
        </p:spPr>
      </p:pic>
      <p:sp>
        <p:nvSpPr>
          <p:cNvPr id="2" name="Title 1">
            <a:extLst>
              <a:ext uri="{FF2B5EF4-FFF2-40B4-BE49-F238E27FC236}">
                <a16:creationId xmlns:a16="http://schemas.microsoft.com/office/drawing/2014/main" id="{CB64B80F-18D0-6840-ABC2-E423BDBB09DE}"/>
              </a:ext>
            </a:extLst>
          </p:cNvPr>
          <p:cNvSpPr>
            <a:spLocks noGrp="1"/>
          </p:cNvSpPr>
          <p:nvPr>
            <p:ph type="title"/>
          </p:nvPr>
        </p:nvSpPr>
        <p:spPr>
          <a:xfrm>
            <a:off x="247650" y="385420"/>
            <a:ext cx="8791575" cy="1500530"/>
          </a:xfrm>
        </p:spPr>
        <p:txBody>
          <a:bodyPr/>
          <a:lstStyle/>
          <a:p>
            <a:pPr algn="l"/>
            <a:r>
              <a:rPr lang="en-AU" sz="3000" dirty="0"/>
              <a:t>Unlearn: </a:t>
            </a:r>
            <a:r>
              <a:rPr lang="en-AU" sz="3000" dirty="0">
                <a:solidFill>
                  <a:schemeClr val="bg1"/>
                </a:solidFill>
              </a:rPr>
              <a:t>to make an effort to forget your usual way of doing something so that you can learn a new and sometimes better </a:t>
            </a:r>
            <a:r>
              <a:rPr lang="en-AU" sz="3000" dirty="0" smtClean="0">
                <a:solidFill>
                  <a:schemeClr val="bg1"/>
                </a:solidFill>
              </a:rPr>
              <a:t>way</a:t>
            </a:r>
            <a:r>
              <a:rPr lang="en-AU" sz="3000" dirty="0">
                <a:solidFill>
                  <a:schemeClr val="bg1"/>
                </a:solidFill>
              </a:rPr>
              <a:t/>
            </a:r>
            <a:br>
              <a:rPr lang="en-AU" sz="3000" dirty="0">
                <a:solidFill>
                  <a:schemeClr val="bg1"/>
                </a:solidFill>
              </a:rPr>
            </a:br>
            <a:r>
              <a:rPr lang="en-AU" sz="3000" dirty="0"/>
              <a:t> </a:t>
            </a:r>
            <a:br>
              <a:rPr lang="en-AU" sz="3000" dirty="0"/>
            </a:br>
            <a:endParaRPr lang="en-US" sz="3000" dirty="0"/>
          </a:p>
        </p:txBody>
      </p:sp>
      <p:sp>
        <p:nvSpPr>
          <p:cNvPr id="7" name="Title 1">
            <a:extLst>
              <a:ext uri="{FF2B5EF4-FFF2-40B4-BE49-F238E27FC236}">
                <a16:creationId xmlns:a16="http://schemas.microsoft.com/office/drawing/2014/main" id="{CB64B80F-18D0-6840-ABC2-E423BDBB09DE}"/>
              </a:ext>
            </a:extLst>
          </p:cNvPr>
          <p:cNvSpPr txBox="1">
            <a:spLocks/>
          </p:cNvSpPr>
          <p:nvPr/>
        </p:nvSpPr>
        <p:spPr bwMode="auto">
          <a:xfrm>
            <a:off x="176212" y="1885950"/>
            <a:ext cx="8791575" cy="462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ctr" defTabSz="457200" rtl="0" eaLnBrk="1" fontAlgn="base" hangingPunct="1">
              <a:spcBef>
                <a:spcPct val="0"/>
              </a:spcBef>
              <a:spcAft>
                <a:spcPct val="0"/>
              </a:spcAft>
              <a:defRPr sz="2200" b="1" kern="1200">
                <a:solidFill>
                  <a:srgbClr val="E64626"/>
                </a:solidFill>
                <a:latin typeface="Arial" panose="020B0604020202020204" pitchFamily="34" charset="0"/>
                <a:ea typeface="ＭＳ Ｐゴシック" charset="0"/>
                <a:cs typeface="Arial" panose="020B0604020202020204" pitchFamily="34" charset="0"/>
              </a:defRPr>
            </a:lvl1pPr>
            <a:lvl2pPr algn="l" defTabSz="457200" rtl="0" eaLnBrk="1" fontAlgn="base" hangingPunct="1">
              <a:spcBef>
                <a:spcPct val="0"/>
              </a:spcBef>
              <a:spcAft>
                <a:spcPct val="0"/>
              </a:spcAft>
              <a:defRPr sz="2400" b="1">
                <a:solidFill>
                  <a:schemeClr val="accent1"/>
                </a:solidFill>
                <a:latin typeface="Tw Cen MT" charset="0"/>
                <a:ea typeface="ＭＳ Ｐゴシック" charset="0"/>
              </a:defRPr>
            </a:lvl2pPr>
            <a:lvl3pPr algn="l" defTabSz="457200" rtl="0" eaLnBrk="1" fontAlgn="base" hangingPunct="1">
              <a:spcBef>
                <a:spcPct val="0"/>
              </a:spcBef>
              <a:spcAft>
                <a:spcPct val="0"/>
              </a:spcAft>
              <a:defRPr sz="2400" b="1">
                <a:solidFill>
                  <a:schemeClr val="accent1"/>
                </a:solidFill>
                <a:latin typeface="Tw Cen MT" charset="0"/>
                <a:ea typeface="ＭＳ Ｐゴシック" charset="0"/>
              </a:defRPr>
            </a:lvl3pPr>
            <a:lvl4pPr algn="l" defTabSz="457200" rtl="0" eaLnBrk="1" fontAlgn="base" hangingPunct="1">
              <a:spcBef>
                <a:spcPct val="0"/>
              </a:spcBef>
              <a:spcAft>
                <a:spcPct val="0"/>
              </a:spcAft>
              <a:defRPr sz="2400" b="1">
                <a:solidFill>
                  <a:schemeClr val="accent1"/>
                </a:solidFill>
                <a:latin typeface="Tw Cen MT" charset="0"/>
                <a:ea typeface="ＭＳ Ｐゴシック" charset="0"/>
              </a:defRPr>
            </a:lvl4pPr>
            <a:lvl5pPr algn="l" defTabSz="457200" rtl="0" eaLnBrk="1" fontAlgn="base" hangingPunct="1">
              <a:spcBef>
                <a:spcPct val="0"/>
              </a:spcBef>
              <a:spcAft>
                <a:spcPct val="0"/>
              </a:spcAft>
              <a:defRPr sz="2400" b="1">
                <a:solidFill>
                  <a:schemeClr val="accent1"/>
                </a:solidFill>
                <a:latin typeface="Tw Cen MT" charset="0"/>
                <a:ea typeface="ＭＳ Ｐゴシック" charset="0"/>
              </a:defRPr>
            </a:lvl5pPr>
            <a:lvl6pPr marL="457200" algn="l" defTabSz="457200" rtl="0" eaLnBrk="1" fontAlgn="base" hangingPunct="1">
              <a:spcBef>
                <a:spcPct val="0"/>
              </a:spcBef>
              <a:spcAft>
                <a:spcPct val="0"/>
              </a:spcAft>
              <a:defRPr sz="2400" b="1">
                <a:solidFill>
                  <a:schemeClr val="accent1"/>
                </a:solidFill>
                <a:latin typeface="Tw Cen MT" charset="0"/>
                <a:ea typeface="ＭＳ Ｐゴシック" charset="0"/>
              </a:defRPr>
            </a:lvl6pPr>
            <a:lvl7pPr marL="914400" algn="l" defTabSz="457200" rtl="0" eaLnBrk="1" fontAlgn="base" hangingPunct="1">
              <a:spcBef>
                <a:spcPct val="0"/>
              </a:spcBef>
              <a:spcAft>
                <a:spcPct val="0"/>
              </a:spcAft>
              <a:defRPr sz="2400" b="1">
                <a:solidFill>
                  <a:schemeClr val="accent1"/>
                </a:solidFill>
                <a:latin typeface="Tw Cen MT" charset="0"/>
                <a:ea typeface="ＭＳ Ｐゴシック" charset="0"/>
              </a:defRPr>
            </a:lvl7pPr>
            <a:lvl8pPr marL="1371600" algn="l" defTabSz="457200" rtl="0" eaLnBrk="1" fontAlgn="base" hangingPunct="1">
              <a:spcBef>
                <a:spcPct val="0"/>
              </a:spcBef>
              <a:spcAft>
                <a:spcPct val="0"/>
              </a:spcAft>
              <a:defRPr sz="2400" b="1">
                <a:solidFill>
                  <a:schemeClr val="accent1"/>
                </a:solidFill>
                <a:latin typeface="Tw Cen MT" charset="0"/>
                <a:ea typeface="ＭＳ Ｐゴシック" charset="0"/>
              </a:defRPr>
            </a:lvl8pPr>
            <a:lvl9pPr marL="1828800" algn="l" defTabSz="457200" rtl="0" eaLnBrk="1" fontAlgn="base" hangingPunct="1">
              <a:spcBef>
                <a:spcPct val="0"/>
              </a:spcBef>
              <a:spcAft>
                <a:spcPct val="0"/>
              </a:spcAft>
              <a:defRPr sz="2400" b="1">
                <a:solidFill>
                  <a:schemeClr val="accent1"/>
                </a:solidFill>
                <a:latin typeface="Tw Cen MT" charset="0"/>
                <a:ea typeface="ＭＳ Ｐゴシック" charset="0"/>
              </a:defRPr>
            </a:lvl9pPr>
          </a:lstStyle>
          <a:p>
            <a:pPr algn="r"/>
            <a:r>
              <a:rPr lang="en-AU" b="0" dirty="0" smtClean="0">
                <a:solidFill>
                  <a:srgbClr val="343433"/>
                </a:solidFill>
              </a:rPr>
              <a:t>Cambridge Dictionary</a:t>
            </a:r>
            <a:br>
              <a:rPr lang="en-AU" b="0" dirty="0" smtClean="0">
                <a:solidFill>
                  <a:srgbClr val="343433"/>
                </a:solidFill>
              </a:rPr>
            </a:br>
            <a:r>
              <a:rPr lang="en-AU" b="0" dirty="0" smtClean="0">
                <a:solidFill>
                  <a:srgbClr val="343433"/>
                </a:solidFill>
              </a:rPr>
              <a:t> </a:t>
            </a:r>
            <a:br>
              <a:rPr lang="en-AU" b="0" dirty="0" smtClean="0">
                <a:solidFill>
                  <a:srgbClr val="343433"/>
                </a:solidFill>
              </a:rPr>
            </a:br>
            <a:endParaRPr lang="en-US" b="0" dirty="0">
              <a:solidFill>
                <a:srgbClr val="343433"/>
              </a:solidFill>
            </a:endParaRPr>
          </a:p>
        </p:txBody>
      </p:sp>
    </p:spTree>
    <p:extLst>
      <p:ext uri="{BB962C8B-B14F-4D97-AF65-F5344CB8AC3E}">
        <p14:creationId xmlns:p14="http://schemas.microsoft.com/office/powerpoint/2010/main" val="27047230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B56A5C-9F7F-404B-A675-38DC66E0658C}"/>
              </a:ext>
            </a:extLst>
          </p:cNvPr>
          <p:cNvSpPr>
            <a:spLocks noGrp="1"/>
          </p:cNvSpPr>
          <p:nvPr>
            <p:ph type="title"/>
          </p:nvPr>
        </p:nvSpPr>
        <p:spPr/>
        <p:txBody>
          <a:bodyPr/>
          <a:lstStyle/>
          <a:p>
            <a:r>
              <a:rPr lang="en-AU" sz="3200" dirty="0" smtClean="0"/>
              <a:t>What do we need to unlearn to change the decision-making culture?</a:t>
            </a:r>
            <a:endParaRPr lang="en-AU" sz="3200" dirty="0"/>
          </a:p>
        </p:txBody>
      </p:sp>
      <p:sp>
        <p:nvSpPr>
          <p:cNvPr id="4" name="Text Placeholder 3">
            <a:extLst>
              <a:ext uri="{FF2B5EF4-FFF2-40B4-BE49-F238E27FC236}">
                <a16:creationId xmlns:a16="http://schemas.microsoft.com/office/drawing/2014/main" id="{ACB201A6-9EC9-40C6-A668-1B6F57BFC0FB}"/>
              </a:ext>
            </a:extLst>
          </p:cNvPr>
          <p:cNvSpPr>
            <a:spLocks noGrp="1"/>
          </p:cNvSpPr>
          <p:nvPr>
            <p:ph type="body" sz="quarter" idx="17"/>
          </p:nvPr>
        </p:nvSpPr>
        <p:spPr>
          <a:xfrm>
            <a:off x="5272314" y="3064273"/>
            <a:ext cx="2759284" cy="1420813"/>
          </a:xfrm>
        </p:spPr>
        <p:txBody>
          <a:bodyPr/>
          <a:lstStyle/>
          <a:p>
            <a:r>
              <a:rPr lang="en-AU" sz="2400" dirty="0" smtClean="0"/>
              <a:t>Relying solely on history to decide the future</a:t>
            </a:r>
            <a:endParaRPr lang="en-AU" sz="2400" dirty="0"/>
          </a:p>
        </p:txBody>
      </p:sp>
      <p:sp>
        <p:nvSpPr>
          <p:cNvPr id="5" name="Text Placeholder 4">
            <a:extLst>
              <a:ext uri="{FF2B5EF4-FFF2-40B4-BE49-F238E27FC236}">
                <a16:creationId xmlns:a16="http://schemas.microsoft.com/office/drawing/2014/main" id="{B0B82ED7-2359-48E6-8DCB-13E7009428BA}"/>
              </a:ext>
            </a:extLst>
          </p:cNvPr>
          <p:cNvSpPr>
            <a:spLocks noGrp="1"/>
          </p:cNvSpPr>
          <p:nvPr>
            <p:ph type="body" sz="quarter" idx="18"/>
          </p:nvPr>
        </p:nvSpPr>
        <p:spPr>
          <a:xfrm>
            <a:off x="5272314" y="1643460"/>
            <a:ext cx="2618951" cy="1420813"/>
          </a:xfrm>
        </p:spPr>
        <p:txBody>
          <a:bodyPr/>
          <a:lstStyle/>
          <a:p>
            <a:r>
              <a:rPr lang="en-AU" sz="2400" dirty="0" smtClean="0"/>
              <a:t>Not insisting on verified source of truth</a:t>
            </a:r>
            <a:endParaRPr lang="en-AU" sz="2400" dirty="0"/>
          </a:p>
        </p:txBody>
      </p:sp>
      <p:sp>
        <p:nvSpPr>
          <p:cNvPr id="7" name="Text Placeholder 6">
            <a:extLst>
              <a:ext uri="{FF2B5EF4-FFF2-40B4-BE49-F238E27FC236}">
                <a16:creationId xmlns:a16="http://schemas.microsoft.com/office/drawing/2014/main" id="{7C0DADCD-4979-4BF6-9FD8-463618241AD2}"/>
              </a:ext>
            </a:extLst>
          </p:cNvPr>
          <p:cNvSpPr>
            <a:spLocks noGrp="1"/>
          </p:cNvSpPr>
          <p:nvPr>
            <p:ph type="body" sz="quarter" idx="20"/>
          </p:nvPr>
        </p:nvSpPr>
        <p:spPr>
          <a:xfrm>
            <a:off x="1375363" y="1643461"/>
            <a:ext cx="2612178" cy="1420813"/>
          </a:xfrm>
        </p:spPr>
        <p:txBody>
          <a:bodyPr/>
          <a:lstStyle/>
          <a:p>
            <a:r>
              <a:rPr lang="en-AU" sz="2400" dirty="0" smtClean="0"/>
              <a:t>Decisions based on gut feeling and estimates</a:t>
            </a:r>
            <a:endParaRPr lang="en-AU" sz="2400" dirty="0"/>
          </a:p>
        </p:txBody>
      </p:sp>
      <p:sp>
        <p:nvSpPr>
          <p:cNvPr id="6" name="Text Placeholder 3">
            <a:extLst>
              <a:ext uri="{FF2B5EF4-FFF2-40B4-BE49-F238E27FC236}">
                <a16:creationId xmlns:a16="http://schemas.microsoft.com/office/drawing/2014/main" id="{ACB201A6-9EC9-40C6-A668-1B6F57BFC0FB}"/>
              </a:ext>
            </a:extLst>
          </p:cNvPr>
          <p:cNvSpPr>
            <a:spLocks noGrp="1"/>
          </p:cNvSpPr>
          <p:nvPr>
            <p:ph type="body" sz="quarter" idx="17"/>
          </p:nvPr>
        </p:nvSpPr>
        <p:spPr>
          <a:xfrm>
            <a:off x="1375363" y="3063327"/>
            <a:ext cx="2759284" cy="1420813"/>
          </a:xfrm>
        </p:spPr>
        <p:txBody>
          <a:bodyPr/>
          <a:lstStyle/>
          <a:p>
            <a:r>
              <a:rPr lang="en-AU" sz="2400" dirty="0" smtClean="0"/>
              <a:t>Statements made before checking the facts</a:t>
            </a:r>
            <a:endParaRPr lang="en-AU" sz="2400" dirty="0"/>
          </a:p>
        </p:txBody>
      </p:sp>
    </p:spTree>
    <p:extLst>
      <p:ext uri="{BB962C8B-B14F-4D97-AF65-F5344CB8AC3E}">
        <p14:creationId xmlns:p14="http://schemas.microsoft.com/office/powerpoint/2010/main" val="23538635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8671C3-E2AA-E040-935D-7AEB68A965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7" name="Title 6">
            <a:extLst>
              <a:ext uri="{FF2B5EF4-FFF2-40B4-BE49-F238E27FC236}">
                <a16:creationId xmlns:a16="http://schemas.microsoft.com/office/drawing/2014/main" id="{F063F71D-7E18-4466-BC5B-6A3158EA1FCD}"/>
              </a:ext>
            </a:extLst>
          </p:cNvPr>
          <p:cNvSpPr>
            <a:spLocks noGrp="1"/>
          </p:cNvSpPr>
          <p:nvPr>
            <p:ph type="title"/>
          </p:nvPr>
        </p:nvSpPr>
        <p:spPr>
          <a:xfrm>
            <a:off x="1" y="624831"/>
            <a:ext cx="9143999" cy="1013470"/>
          </a:xfrm>
          <a:solidFill>
            <a:srgbClr val="343433"/>
          </a:solidFill>
        </p:spPr>
        <p:txBody>
          <a:bodyPr/>
          <a:lstStyle/>
          <a:p>
            <a:r>
              <a:rPr lang="en-AU" sz="3000" dirty="0" smtClean="0">
                <a:solidFill>
                  <a:schemeClr val="bg1"/>
                </a:solidFill>
              </a:rPr>
              <a:t>Working collaboratively to liberate data utilising cloud-based technologies</a:t>
            </a:r>
            <a:endParaRPr lang="en-AU" sz="3000" dirty="0">
              <a:solidFill>
                <a:schemeClr val="bg1"/>
              </a:solidFill>
            </a:endParaRPr>
          </a:p>
        </p:txBody>
      </p:sp>
    </p:spTree>
    <p:extLst>
      <p:ext uri="{BB962C8B-B14F-4D97-AF65-F5344CB8AC3E}">
        <p14:creationId xmlns:p14="http://schemas.microsoft.com/office/powerpoint/2010/main" val="35028180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 name="Object 121" hidden="1"/>
          <p:cNvGraphicFramePr>
            <a:graphicFrameLocks noChangeAspect="1"/>
          </p:cNvGraphicFramePr>
          <p:nvPr>
            <p:custDataLst>
              <p:tags r:id="rId2"/>
            </p:custDataLst>
            <p:extLst/>
          </p:nvPr>
        </p:nvGraphicFramePr>
        <p:xfrm>
          <a:off x="1143992" y="643952"/>
          <a:ext cx="809" cy="809"/>
        </p:xfrm>
        <a:graphic>
          <a:graphicData uri="http://schemas.openxmlformats.org/presentationml/2006/ole">
            <mc:AlternateContent xmlns:mc="http://schemas.openxmlformats.org/markup-compatibility/2006">
              <mc:Choice xmlns:v="urn:schemas-microsoft-com:vml" Requires="v">
                <p:oleObj spid="_x0000_s207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143992" y="643952"/>
                        <a:ext cx="809" cy="809"/>
                      </a:xfrm>
                      <a:prstGeom prst="rect">
                        <a:avLst/>
                      </a:prstGeom>
                    </p:spPr>
                  </p:pic>
                </p:oleObj>
              </mc:Fallback>
            </mc:AlternateContent>
          </a:graphicData>
        </a:graphic>
      </p:graphicFrame>
      <p:sp>
        <p:nvSpPr>
          <p:cNvPr id="154" name="Title 6">
            <a:extLst>
              <a:ext uri="{FF2B5EF4-FFF2-40B4-BE49-F238E27FC236}">
                <a16:creationId xmlns:a16="http://schemas.microsoft.com/office/drawing/2014/main" id="{FA1002F2-278A-E543-A879-CFB868A3C788}"/>
              </a:ext>
            </a:extLst>
          </p:cNvPr>
          <p:cNvSpPr>
            <a:spLocks noGrp="1"/>
          </p:cNvSpPr>
          <p:nvPr>
            <p:ph type="title"/>
          </p:nvPr>
        </p:nvSpPr>
        <p:spPr>
          <a:xfrm>
            <a:off x="833171" y="152490"/>
            <a:ext cx="6172200" cy="323288"/>
          </a:xfrm>
        </p:spPr>
        <p:txBody>
          <a:bodyPr/>
          <a:lstStyle/>
          <a:p>
            <a:r>
              <a:rPr lang="en-AU" dirty="0" smtClean="0"/>
              <a:t>Target Conceptual Architecture</a:t>
            </a:r>
            <a:endParaRPr lang="en-AU" dirty="0"/>
          </a:p>
        </p:txBody>
      </p:sp>
      <p:sp>
        <p:nvSpPr>
          <p:cNvPr id="10" name="Rectangle 85"/>
          <p:cNvSpPr>
            <a:spLocks noChangeArrowheads="1"/>
          </p:cNvSpPr>
          <p:nvPr/>
        </p:nvSpPr>
        <p:spPr bwMode="auto">
          <a:xfrm>
            <a:off x="-167722" y="868389"/>
            <a:ext cx="103939" cy="675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51435" tIns="25718" rIns="51435" bIns="25718" numCol="1" anchor="ctr" anchorCtr="0" compatLnSpc="1">
            <a:prstTxWarp prst="textNoShape">
              <a:avLst/>
            </a:prstTxWarp>
            <a:spAutoFit/>
          </a:bodyPr>
          <a:lstStyle/>
          <a:p>
            <a:pPr defTabSz="514350" eaLnBrk="0" hangingPunct="0"/>
            <a:endParaRPr lang="en-US" altLang="en-US" sz="1013" dirty="0">
              <a:solidFill>
                <a:prstClr val="black"/>
              </a:solidFill>
            </a:endParaRPr>
          </a:p>
          <a:p>
            <a:pPr defTabSz="514350" eaLnBrk="0" hangingPunct="0"/>
            <a:r>
              <a:rPr lang="en-US" altLang="en-US" sz="1013" dirty="0">
                <a:solidFill>
                  <a:prstClr val="black"/>
                </a:solidFill>
              </a:rPr>
              <a:t/>
            </a:r>
            <a:br>
              <a:rPr lang="en-US" altLang="en-US" sz="1013" dirty="0">
                <a:solidFill>
                  <a:prstClr val="black"/>
                </a:solidFill>
              </a:rPr>
            </a:br>
            <a:endParaRPr lang="en-US" altLang="en-US" sz="1013" dirty="0">
              <a:solidFill>
                <a:prstClr val="black"/>
              </a:solidFill>
            </a:endParaRPr>
          </a:p>
          <a:p>
            <a:pPr defTabSz="514350" eaLnBrk="0" hangingPunct="0"/>
            <a:endParaRPr lang="en-US" altLang="en-US" sz="1013" dirty="0">
              <a:solidFill>
                <a:prstClr val="black"/>
              </a:solidFill>
            </a:endParaRPr>
          </a:p>
        </p:txBody>
      </p:sp>
      <p:sp>
        <p:nvSpPr>
          <p:cNvPr id="11" name="Rectangle 86"/>
          <p:cNvSpPr>
            <a:spLocks noChangeArrowheads="1"/>
          </p:cNvSpPr>
          <p:nvPr/>
        </p:nvSpPr>
        <p:spPr bwMode="auto">
          <a:xfrm>
            <a:off x="-167722" y="1024266"/>
            <a:ext cx="103939" cy="363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51435" tIns="25718" rIns="51435" bIns="25718" numCol="1" anchor="ctr" anchorCtr="0" compatLnSpc="1">
            <a:prstTxWarp prst="textNoShape">
              <a:avLst/>
            </a:prstTxWarp>
            <a:spAutoFit/>
          </a:bodyPr>
          <a:lstStyle/>
          <a:p>
            <a:pPr defTabSz="514350" eaLnBrk="0" hangingPunct="0"/>
            <a:endParaRPr lang="en-US" altLang="en-US" sz="1013" dirty="0">
              <a:solidFill>
                <a:prstClr val="black"/>
              </a:solidFill>
            </a:endParaRPr>
          </a:p>
          <a:p>
            <a:pPr defTabSz="514350" eaLnBrk="0" hangingPunct="0"/>
            <a:endParaRPr lang="en-US" altLang="en-US" sz="1013" dirty="0">
              <a:solidFill>
                <a:prstClr val="black"/>
              </a:solidFill>
            </a:endParaRPr>
          </a:p>
        </p:txBody>
      </p:sp>
      <p:sp>
        <p:nvSpPr>
          <p:cNvPr id="6" name="Rectangle 5">
            <a:extLst>
              <a:ext uri="{FF2B5EF4-FFF2-40B4-BE49-F238E27FC236}">
                <a16:creationId xmlns:a16="http://schemas.microsoft.com/office/drawing/2014/main" id="{EA0A3FA4-77B5-7B4B-8FBD-141F5A808E2F}"/>
              </a:ext>
            </a:extLst>
          </p:cNvPr>
          <p:cNvSpPr/>
          <p:nvPr/>
        </p:nvSpPr>
        <p:spPr>
          <a:xfrm>
            <a:off x="2468430" y="2647249"/>
            <a:ext cx="4728079" cy="1486945"/>
          </a:xfrm>
          <a:prstGeom prst="rect">
            <a:avLst/>
          </a:prstGeom>
          <a:solidFill>
            <a:schemeClr val="accent6">
              <a:lumMod val="20000"/>
              <a:lumOff val="80000"/>
            </a:schemeClr>
          </a:solidFill>
          <a:ln>
            <a:solidFill>
              <a:schemeClr val="accent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13" dirty="0">
                <a:solidFill>
                  <a:srgbClr val="FFB800"/>
                </a:solidFill>
              </a:rPr>
              <a:t>DEV Environment</a:t>
            </a: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p:txBody>
      </p:sp>
      <p:sp>
        <p:nvSpPr>
          <p:cNvPr id="7" name="Rectangle 6">
            <a:extLst>
              <a:ext uri="{FF2B5EF4-FFF2-40B4-BE49-F238E27FC236}">
                <a16:creationId xmlns:a16="http://schemas.microsoft.com/office/drawing/2014/main" id="{377F40B6-3F83-BA40-B05D-4DECD1BD76A5}"/>
              </a:ext>
            </a:extLst>
          </p:cNvPr>
          <p:cNvSpPr/>
          <p:nvPr/>
        </p:nvSpPr>
        <p:spPr>
          <a:xfrm>
            <a:off x="2468430" y="1038059"/>
            <a:ext cx="4728079" cy="1559171"/>
          </a:xfrm>
          <a:prstGeom prst="rect">
            <a:avLst/>
          </a:prstGeom>
          <a:solidFill>
            <a:srgbClr val="F4DED7"/>
          </a:solidFill>
          <a:ln>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13" dirty="0">
                <a:solidFill>
                  <a:srgbClr val="C00000"/>
                </a:solidFill>
              </a:rPr>
              <a:t>PRD Environment</a:t>
            </a: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a:p>
            <a:pPr algn="ctr" fontAlgn="base">
              <a:spcBef>
                <a:spcPct val="0"/>
              </a:spcBef>
              <a:spcAft>
                <a:spcPct val="0"/>
              </a:spcAft>
            </a:pPr>
            <a:endParaRPr lang="en-US" sz="1013" dirty="0">
              <a:solidFill>
                <a:prstClr val="white"/>
              </a:solidFill>
            </a:endParaRPr>
          </a:p>
        </p:txBody>
      </p:sp>
      <p:sp>
        <p:nvSpPr>
          <p:cNvPr id="8" name="Rounded Rectangle 7">
            <a:extLst>
              <a:ext uri="{FF2B5EF4-FFF2-40B4-BE49-F238E27FC236}">
                <a16:creationId xmlns:a16="http://schemas.microsoft.com/office/drawing/2014/main" id="{83DCDE6C-D155-B94B-A73C-0E6E3076B377}"/>
              </a:ext>
            </a:extLst>
          </p:cNvPr>
          <p:cNvSpPr/>
          <p:nvPr/>
        </p:nvSpPr>
        <p:spPr>
          <a:xfrm>
            <a:off x="4291578" y="1724968"/>
            <a:ext cx="873939" cy="76838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p:txBody>
      </p:sp>
      <p:sp>
        <p:nvSpPr>
          <p:cNvPr id="9" name="Rounded Rectangle 8">
            <a:extLst>
              <a:ext uri="{FF2B5EF4-FFF2-40B4-BE49-F238E27FC236}">
                <a16:creationId xmlns:a16="http://schemas.microsoft.com/office/drawing/2014/main" id="{83DCDE6C-D155-B94B-A73C-0E6E3076B377}"/>
              </a:ext>
            </a:extLst>
          </p:cNvPr>
          <p:cNvSpPr/>
          <p:nvPr/>
        </p:nvSpPr>
        <p:spPr>
          <a:xfrm>
            <a:off x="5950901" y="1729160"/>
            <a:ext cx="1013431" cy="76838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r>
              <a:rPr lang="en-US" sz="788" dirty="0">
                <a:solidFill>
                  <a:prstClr val="white">
                    <a:lumMod val="50000"/>
                  </a:prstClr>
                </a:solidFill>
              </a:rPr>
              <a:t>Semantic </a:t>
            </a:r>
          </a:p>
          <a:p>
            <a:pPr algn="ctr" fontAlgn="base">
              <a:spcBef>
                <a:spcPct val="0"/>
              </a:spcBef>
              <a:spcAft>
                <a:spcPct val="0"/>
              </a:spcAft>
            </a:pPr>
            <a:r>
              <a:rPr lang="en-US" sz="788" dirty="0" smtClean="0">
                <a:solidFill>
                  <a:prstClr val="white">
                    <a:lumMod val="50000"/>
                  </a:prstClr>
                </a:solidFill>
              </a:rPr>
              <a:t>Layer</a:t>
            </a: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p:txBody>
      </p:sp>
      <p:sp>
        <p:nvSpPr>
          <p:cNvPr id="12" name="Rectangle 88"/>
          <p:cNvSpPr>
            <a:spLocks noChangeArrowheads="1"/>
          </p:cNvSpPr>
          <p:nvPr/>
        </p:nvSpPr>
        <p:spPr bwMode="auto">
          <a:xfrm>
            <a:off x="505425" y="630122"/>
            <a:ext cx="249069" cy="466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51435" tIns="25718" rIns="51435" bIns="25718" numCol="1" anchor="ctr" anchorCtr="0" compatLnSpc="1">
            <a:prstTxWarp prst="textNoShape">
              <a:avLst/>
            </a:prstTxWarp>
            <a:spAutoFit/>
          </a:bodyPr>
          <a:lstStyle/>
          <a:p>
            <a:pPr defTabSz="514350" eaLnBrk="0" hangingPunct="0"/>
            <a:endParaRPr lang="en-US" altLang="en-US" sz="1013" dirty="0">
              <a:solidFill>
                <a:prstClr val="black"/>
              </a:solidFill>
            </a:endParaRPr>
          </a:p>
          <a:p>
            <a:pPr defTabSz="514350" eaLnBrk="0" hangingPunct="0"/>
            <a:r>
              <a:rPr lang="en-US" altLang="en-US" sz="1013" dirty="0">
                <a:solidFill>
                  <a:prstClr val="black"/>
                </a:solidFill>
              </a:rPr>
              <a:t>   </a:t>
            </a:r>
          </a:p>
        </p:txBody>
      </p:sp>
      <p:sp>
        <p:nvSpPr>
          <p:cNvPr id="13" name="Can 12">
            <a:extLst>
              <a:ext uri="{FF2B5EF4-FFF2-40B4-BE49-F238E27FC236}">
                <a16:creationId xmlns:a16="http://schemas.microsoft.com/office/drawing/2014/main" id="{5F5E7F58-5E09-9C40-9772-C4ED251060D4}"/>
              </a:ext>
            </a:extLst>
          </p:cNvPr>
          <p:cNvSpPr/>
          <p:nvPr/>
        </p:nvSpPr>
        <p:spPr>
          <a:xfrm>
            <a:off x="2902057" y="1738530"/>
            <a:ext cx="604136" cy="732883"/>
          </a:xfrm>
          <a:prstGeom prst="can">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 Snowflake</a:t>
            </a:r>
          </a:p>
          <a:p>
            <a:pPr algn="ctr" fontAlgn="base">
              <a:spcBef>
                <a:spcPct val="0"/>
              </a:spcBef>
              <a:spcAft>
                <a:spcPct val="0"/>
              </a:spcAft>
            </a:pPr>
            <a:r>
              <a:rPr lang="en-US" sz="563" dirty="0">
                <a:solidFill>
                  <a:prstClr val="black">
                    <a:lumMod val="85000"/>
                    <a:lumOff val="15000"/>
                  </a:prstClr>
                </a:solidFill>
              </a:rPr>
              <a:t>On Azure (DWaaS)</a:t>
            </a:r>
          </a:p>
          <a:p>
            <a:pPr algn="ctr" fontAlgn="base">
              <a:spcBef>
                <a:spcPct val="0"/>
              </a:spcBef>
              <a:spcAft>
                <a:spcPct val="0"/>
              </a:spcAft>
            </a:pPr>
            <a:endParaRPr lang="en-US" sz="563" dirty="0">
              <a:solidFill>
                <a:prstClr val="black">
                  <a:lumMod val="85000"/>
                  <a:lumOff val="15000"/>
                </a:prstClr>
              </a:solidFill>
            </a:endParaRPr>
          </a:p>
          <a:p>
            <a:pPr algn="ctr" fontAlgn="base">
              <a:spcBef>
                <a:spcPct val="0"/>
              </a:spcBef>
              <a:spcAft>
                <a:spcPct val="0"/>
              </a:spcAft>
            </a:pPr>
            <a:r>
              <a:rPr lang="en-US" sz="563" dirty="0">
                <a:solidFill>
                  <a:prstClr val="black">
                    <a:lumMod val="85000"/>
                    <a:lumOff val="15000"/>
                  </a:prstClr>
                </a:solidFill>
              </a:rPr>
              <a:t>EDW | TDA</a:t>
            </a:r>
          </a:p>
        </p:txBody>
      </p:sp>
      <p:cxnSp>
        <p:nvCxnSpPr>
          <p:cNvPr id="14" name="Straight Connector 13"/>
          <p:cNvCxnSpPr/>
          <p:nvPr/>
        </p:nvCxnSpPr>
        <p:spPr>
          <a:xfrm flipH="1">
            <a:off x="2237939" y="659865"/>
            <a:ext cx="466" cy="3752391"/>
          </a:xfrm>
          <a:prstGeom prst="line">
            <a:avLst/>
          </a:prstGeom>
          <a:ln>
            <a:solidFill>
              <a:schemeClr val="accent5"/>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6200000">
            <a:off x="4770234" y="24772"/>
            <a:ext cx="436778" cy="1642555"/>
          </a:xfrm>
          <a:prstGeom prst="rect">
            <a:avLst/>
          </a:prstGeom>
          <a:noFill/>
        </p:spPr>
        <p:txBody>
          <a:bodyPr vert="eaVert" wrap="square" rtlCol="0">
            <a:spAutoFit/>
          </a:bodyPr>
          <a:lstStyle/>
          <a:p>
            <a:pPr algn="ctr" fontAlgn="base">
              <a:spcBef>
                <a:spcPct val="0"/>
              </a:spcBef>
              <a:spcAft>
                <a:spcPct val="0"/>
              </a:spcAft>
            </a:pPr>
            <a:r>
              <a:rPr lang="en-AU" sz="1013" dirty="0">
                <a:solidFill>
                  <a:srgbClr val="F05133">
                    <a:lumMod val="50000"/>
                  </a:srgbClr>
                </a:solidFill>
              </a:rPr>
              <a:t>Azure USYD Cloud</a:t>
            </a:r>
          </a:p>
        </p:txBody>
      </p:sp>
      <p:sp>
        <p:nvSpPr>
          <p:cNvPr id="16" name="TextBox 15"/>
          <p:cNvSpPr txBox="1"/>
          <p:nvPr/>
        </p:nvSpPr>
        <p:spPr>
          <a:xfrm rot="16200000">
            <a:off x="1229749" y="484177"/>
            <a:ext cx="636704" cy="932558"/>
          </a:xfrm>
          <a:prstGeom prst="rect">
            <a:avLst/>
          </a:prstGeom>
          <a:noFill/>
          <a:ln>
            <a:noFill/>
          </a:ln>
        </p:spPr>
        <p:txBody>
          <a:bodyPr vert="eaVert" wrap="square" rtlCol="0">
            <a:spAutoFit/>
          </a:bodyPr>
          <a:lstStyle/>
          <a:p>
            <a:pPr algn="ctr" fontAlgn="base">
              <a:spcBef>
                <a:spcPct val="0"/>
              </a:spcBef>
              <a:spcAft>
                <a:spcPct val="0"/>
              </a:spcAft>
            </a:pPr>
            <a:r>
              <a:rPr lang="en-AU" sz="1013" dirty="0">
                <a:solidFill>
                  <a:srgbClr val="1F497D"/>
                </a:solidFill>
              </a:rPr>
              <a:t>USYD</a:t>
            </a:r>
          </a:p>
          <a:p>
            <a:pPr algn="ctr" fontAlgn="base">
              <a:spcBef>
                <a:spcPct val="0"/>
              </a:spcBef>
              <a:spcAft>
                <a:spcPct val="0"/>
              </a:spcAft>
            </a:pPr>
            <a:r>
              <a:rPr lang="en-AU" sz="1013" dirty="0">
                <a:solidFill>
                  <a:srgbClr val="1F497D"/>
                </a:solidFill>
              </a:rPr>
              <a:t>On-Premise</a:t>
            </a:r>
          </a:p>
        </p:txBody>
      </p:sp>
      <p:sp>
        <p:nvSpPr>
          <p:cNvPr id="17" name="Rectangle 16">
            <a:extLst>
              <a:ext uri="{FF2B5EF4-FFF2-40B4-BE49-F238E27FC236}">
                <a16:creationId xmlns:a16="http://schemas.microsoft.com/office/drawing/2014/main" id="{2D9533BA-B59F-5548-9597-758FEECBCEF0}"/>
              </a:ext>
            </a:extLst>
          </p:cNvPr>
          <p:cNvSpPr/>
          <p:nvPr/>
        </p:nvSpPr>
        <p:spPr>
          <a:xfrm>
            <a:off x="6049348" y="1918764"/>
            <a:ext cx="773041" cy="454431"/>
          </a:xfrm>
          <a:prstGeom prst="rect">
            <a:avLst/>
          </a:prstGeom>
          <a:solidFill>
            <a:schemeClr val="accent1">
              <a:lumMod val="60000"/>
              <a:lumOff val="4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Azure Analysis Services (PaaS)</a:t>
            </a:r>
          </a:p>
        </p:txBody>
      </p:sp>
      <p:sp>
        <p:nvSpPr>
          <p:cNvPr id="18" name="Plaque 17">
            <a:extLst>
              <a:ext uri="{FF2B5EF4-FFF2-40B4-BE49-F238E27FC236}">
                <a16:creationId xmlns:a16="http://schemas.microsoft.com/office/drawing/2014/main" id="{2D9533BA-B59F-5548-9597-758FEECBCEF0}"/>
              </a:ext>
            </a:extLst>
          </p:cNvPr>
          <p:cNvSpPr/>
          <p:nvPr/>
        </p:nvSpPr>
        <p:spPr>
          <a:xfrm>
            <a:off x="4362724" y="1781345"/>
            <a:ext cx="735774" cy="638956"/>
          </a:xfrm>
          <a:prstGeom prst="plaque">
            <a:avLst/>
          </a:prstGeom>
          <a:solidFill>
            <a:schemeClr val="accent1">
              <a:lumMod val="60000"/>
              <a:lumOff val="4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Azure On Prem Data Gateway (VM)</a:t>
            </a:r>
          </a:p>
        </p:txBody>
      </p:sp>
      <p:cxnSp>
        <p:nvCxnSpPr>
          <p:cNvPr id="19" name="Elbow Connector 18"/>
          <p:cNvCxnSpPr>
            <a:cxnSpLocks/>
            <a:stCxn id="13" idx="4"/>
            <a:endCxn id="8" idx="1"/>
          </p:cNvCxnSpPr>
          <p:nvPr/>
        </p:nvCxnSpPr>
        <p:spPr>
          <a:xfrm>
            <a:off x="3506193" y="2104972"/>
            <a:ext cx="785385" cy="4187"/>
          </a:xfrm>
          <a:prstGeom prst="bentConnector3">
            <a:avLst/>
          </a:prstGeom>
          <a:ln>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pic>
        <p:nvPicPr>
          <p:cNvPr id="20" name="Picture 2" descr="Image result for power bi service png"/>
          <p:cNvPicPr>
            <a:picLocks noChangeAspect="1" noChangeArrowheads="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227815" y="3744484"/>
            <a:ext cx="777570" cy="670592"/>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Elbow Connector 20"/>
          <p:cNvCxnSpPr>
            <a:cxnSpLocks/>
            <a:endCxn id="13" idx="2"/>
          </p:cNvCxnSpPr>
          <p:nvPr/>
        </p:nvCxnSpPr>
        <p:spPr>
          <a:xfrm flipV="1">
            <a:off x="2101754" y="2104972"/>
            <a:ext cx="800304" cy="315329"/>
          </a:xfrm>
          <a:prstGeom prst="bentConnector3">
            <a:avLst>
              <a:gd name="adj1" fmla="val 50000"/>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2" name="Elbow Connector 21"/>
          <p:cNvCxnSpPr>
            <a:cxnSpLocks/>
          </p:cNvCxnSpPr>
          <p:nvPr/>
        </p:nvCxnSpPr>
        <p:spPr>
          <a:xfrm flipV="1">
            <a:off x="2069673" y="2853701"/>
            <a:ext cx="5837903" cy="1491827"/>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sp>
        <p:nvSpPr>
          <p:cNvPr id="23" name="TextBox 22"/>
          <p:cNvSpPr txBox="1"/>
          <p:nvPr/>
        </p:nvSpPr>
        <p:spPr>
          <a:xfrm rot="16200000">
            <a:off x="7397224" y="3833326"/>
            <a:ext cx="359061" cy="835773"/>
          </a:xfrm>
          <a:prstGeom prst="rect">
            <a:avLst/>
          </a:prstGeom>
          <a:noFill/>
        </p:spPr>
        <p:txBody>
          <a:bodyPr vert="eaVert" wrap="square" rtlCol="0">
            <a:spAutoFit/>
          </a:bodyPr>
          <a:lstStyle/>
          <a:p>
            <a:pPr algn="ctr" fontAlgn="base">
              <a:spcBef>
                <a:spcPct val="0"/>
              </a:spcBef>
              <a:spcAft>
                <a:spcPct val="0"/>
              </a:spcAft>
            </a:pPr>
            <a:r>
              <a:rPr lang="en-AU" sz="619" dirty="0">
                <a:solidFill>
                  <a:srgbClr val="0070C0"/>
                </a:solidFill>
              </a:rPr>
              <a:t>Publish Reports</a:t>
            </a:r>
          </a:p>
        </p:txBody>
      </p:sp>
      <p:cxnSp>
        <p:nvCxnSpPr>
          <p:cNvPr id="24" name="Elbow Connector 23"/>
          <p:cNvCxnSpPr>
            <a:cxnSpLocks/>
            <a:endCxn id="9" idx="3"/>
          </p:cNvCxnSpPr>
          <p:nvPr/>
        </p:nvCxnSpPr>
        <p:spPr>
          <a:xfrm rot="10800000" flipV="1">
            <a:off x="6964333" y="2111254"/>
            <a:ext cx="612422" cy="2097"/>
          </a:xfrm>
          <a:prstGeom prst="bentConnector3">
            <a:avLst>
              <a:gd name="adj1" fmla="val 50000"/>
            </a:avLst>
          </a:prstGeom>
          <a:ln>
            <a:solidFill>
              <a:srgbClr val="7030A0"/>
            </a:solidFill>
            <a:tailEnd type="triangle"/>
          </a:ln>
        </p:spPr>
        <p:style>
          <a:lnRef idx="1">
            <a:schemeClr val="accent3"/>
          </a:lnRef>
          <a:fillRef idx="0">
            <a:schemeClr val="accent3"/>
          </a:fillRef>
          <a:effectRef idx="0">
            <a:schemeClr val="accent3"/>
          </a:effectRef>
          <a:fontRef idx="minor">
            <a:schemeClr val="tx1"/>
          </a:fontRef>
        </p:style>
      </p:cxnSp>
      <p:cxnSp>
        <p:nvCxnSpPr>
          <p:cNvPr id="25" name="Elbow Connector 24"/>
          <p:cNvCxnSpPr>
            <a:cxnSpLocks/>
            <a:stCxn id="20" idx="1"/>
            <a:endCxn id="13" idx="1"/>
          </p:cNvCxnSpPr>
          <p:nvPr/>
        </p:nvCxnSpPr>
        <p:spPr>
          <a:xfrm rot="10800000" flipH="1">
            <a:off x="1227814" y="1738530"/>
            <a:ext cx="1976311" cy="2341251"/>
          </a:xfrm>
          <a:prstGeom prst="bentConnector4">
            <a:avLst>
              <a:gd name="adj1" fmla="val -13432"/>
              <a:gd name="adj2" fmla="val 107234"/>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6" name="Elbow Connector 25"/>
          <p:cNvCxnSpPr>
            <a:cxnSpLocks/>
            <a:stCxn id="20" idx="0"/>
            <a:endCxn id="44" idx="2"/>
          </p:cNvCxnSpPr>
          <p:nvPr/>
        </p:nvCxnSpPr>
        <p:spPr>
          <a:xfrm rot="5400000" flipH="1" flipV="1">
            <a:off x="1512205" y="3639877"/>
            <a:ext cx="209003" cy="211"/>
          </a:xfrm>
          <a:prstGeom prst="bentConnector3">
            <a:avLst>
              <a:gd name="adj1" fmla="val 50000"/>
            </a:avLst>
          </a:prstGeom>
          <a:ln>
            <a:tailEnd type="triangle"/>
          </a:ln>
        </p:spPr>
        <p:style>
          <a:lnRef idx="1">
            <a:schemeClr val="accent2"/>
          </a:lnRef>
          <a:fillRef idx="0">
            <a:schemeClr val="accent2"/>
          </a:fillRef>
          <a:effectRef idx="0">
            <a:schemeClr val="accent2"/>
          </a:effectRef>
          <a:fontRef idx="minor">
            <a:schemeClr val="tx1"/>
          </a:fontRef>
        </p:style>
      </p:cxnSp>
      <p:sp>
        <p:nvSpPr>
          <p:cNvPr id="27" name="TextBox 26"/>
          <p:cNvSpPr txBox="1"/>
          <p:nvPr/>
        </p:nvSpPr>
        <p:spPr>
          <a:xfrm rot="16200000">
            <a:off x="633736" y="3936190"/>
            <a:ext cx="603479" cy="742306"/>
          </a:xfrm>
          <a:prstGeom prst="rect">
            <a:avLst/>
          </a:prstGeom>
          <a:noFill/>
        </p:spPr>
        <p:txBody>
          <a:bodyPr vert="eaVert" wrap="square" rtlCol="0">
            <a:spAutoFit/>
          </a:bodyPr>
          <a:lstStyle/>
          <a:p>
            <a:pPr algn="ctr" fontAlgn="base">
              <a:spcBef>
                <a:spcPct val="0"/>
              </a:spcBef>
              <a:spcAft>
                <a:spcPct val="0"/>
              </a:spcAft>
            </a:pPr>
            <a:r>
              <a:rPr lang="en-AU" sz="619" dirty="0">
                <a:solidFill>
                  <a:srgbClr val="808080"/>
                </a:solidFill>
              </a:rPr>
              <a:t>Access Ungoverned Data</a:t>
            </a:r>
          </a:p>
        </p:txBody>
      </p:sp>
      <p:sp>
        <p:nvSpPr>
          <p:cNvPr id="28" name="Rectangle 27">
            <a:extLst>
              <a:ext uri="{FF2B5EF4-FFF2-40B4-BE49-F238E27FC236}">
                <a16:creationId xmlns:a16="http://schemas.microsoft.com/office/drawing/2014/main" id="{604B15B3-BD41-4EF0-A464-2BC8A4221A23}"/>
              </a:ext>
            </a:extLst>
          </p:cNvPr>
          <p:cNvSpPr/>
          <p:nvPr/>
        </p:nvSpPr>
        <p:spPr>
          <a:xfrm>
            <a:off x="3129055" y="1423661"/>
            <a:ext cx="821295" cy="429458"/>
          </a:xfrm>
          <a:prstGeom prst="rect">
            <a:avLst/>
          </a:prstGeom>
        </p:spPr>
        <p:txBody>
          <a:bodyPr wrap="square">
            <a:spAutoFit/>
          </a:bodyPr>
          <a:lstStyle/>
          <a:p>
            <a:pPr algn="ctr" fontAlgn="base">
              <a:spcBef>
                <a:spcPct val="0"/>
              </a:spcBef>
              <a:spcAft>
                <a:spcPct val="0"/>
              </a:spcAft>
            </a:pPr>
            <a:r>
              <a:rPr lang="en-US" sz="788" dirty="0">
                <a:solidFill>
                  <a:prstClr val="white">
                    <a:lumMod val="50000"/>
                  </a:prstClr>
                </a:solidFill>
              </a:rPr>
              <a:t>Data warehouse</a:t>
            </a:r>
          </a:p>
        </p:txBody>
      </p:sp>
      <p:sp>
        <p:nvSpPr>
          <p:cNvPr id="29" name="Rounded Rectangle 28">
            <a:extLst>
              <a:ext uri="{FF2B5EF4-FFF2-40B4-BE49-F238E27FC236}">
                <a16:creationId xmlns:a16="http://schemas.microsoft.com/office/drawing/2014/main" id="{12490336-07A4-094B-8F75-04BE18920D45}"/>
              </a:ext>
            </a:extLst>
          </p:cNvPr>
          <p:cNvSpPr/>
          <p:nvPr/>
        </p:nvSpPr>
        <p:spPr>
          <a:xfrm>
            <a:off x="4291578" y="3179878"/>
            <a:ext cx="873939" cy="76838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788" dirty="0" smtClean="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smtClean="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p:txBody>
      </p:sp>
      <p:sp>
        <p:nvSpPr>
          <p:cNvPr id="30" name="Rounded Rectangle 29">
            <a:extLst>
              <a:ext uri="{FF2B5EF4-FFF2-40B4-BE49-F238E27FC236}">
                <a16:creationId xmlns:a16="http://schemas.microsoft.com/office/drawing/2014/main" id="{4F7C3260-72BE-F741-8619-18BAFDA91BFF}"/>
              </a:ext>
            </a:extLst>
          </p:cNvPr>
          <p:cNvSpPr/>
          <p:nvPr/>
        </p:nvSpPr>
        <p:spPr>
          <a:xfrm>
            <a:off x="5950901" y="3184071"/>
            <a:ext cx="1013431" cy="76838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r>
              <a:rPr lang="en-US" sz="788" dirty="0">
                <a:solidFill>
                  <a:prstClr val="white">
                    <a:lumMod val="50000"/>
                  </a:prstClr>
                </a:solidFill>
              </a:rPr>
              <a:t>Semantic </a:t>
            </a:r>
          </a:p>
          <a:p>
            <a:pPr algn="ctr" fontAlgn="base">
              <a:spcBef>
                <a:spcPct val="0"/>
              </a:spcBef>
              <a:spcAft>
                <a:spcPct val="0"/>
              </a:spcAft>
            </a:pPr>
            <a:r>
              <a:rPr lang="en-US" sz="788" dirty="0" smtClean="0">
                <a:solidFill>
                  <a:prstClr val="white">
                    <a:lumMod val="50000"/>
                  </a:prstClr>
                </a:solidFill>
              </a:rPr>
              <a:t>Layer</a:t>
            </a: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a:p>
            <a:pPr algn="ctr" fontAlgn="base">
              <a:spcBef>
                <a:spcPct val="0"/>
              </a:spcBef>
              <a:spcAft>
                <a:spcPct val="0"/>
              </a:spcAft>
            </a:pPr>
            <a:endParaRPr lang="en-US" sz="788" dirty="0">
              <a:solidFill>
                <a:prstClr val="white">
                  <a:lumMod val="50000"/>
                </a:prstClr>
              </a:solidFill>
            </a:endParaRPr>
          </a:p>
        </p:txBody>
      </p:sp>
      <p:sp>
        <p:nvSpPr>
          <p:cNvPr id="31" name="Can 30">
            <a:extLst>
              <a:ext uri="{FF2B5EF4-FFF2-40B4-BE49-F238E27FC236}">
                <a16:creationId xmlns:a16="http://schemas.microsoft.com/office/drawing/2014/main" id="{7B150244-B343-394E-9E74-E94C92393A45}"/>
              </a:ext>
            </a:extLst>
          </p:cNvPr>
          <p:cNvSpPr/>
          <p:nvPr/>
        </p:nvSpPr>
        <p:spPr>
          <a:xfrm>
            <a:off x="2902057" y="3193441"/>
            <a:ext cx="604136" cy="732883"/>
          </a:xfrm>
          <a:prstGeom prst="can">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 Snowflake</a:t>
            </a:r>
          </a:p>
          <a:p>
            <a:pPr algn="ctr" fontAlgn="base">
              <a:spcBef>
                <a:spcPct val="0"/>
              </a:spcBef>
              <a:spcAft>
                <a:spcPct val="0"/>
              </a:spcAft>
            </a:pPr>
            <a:r>
              <a:rPr lang="en-US" sz="563" dirty="0">
                <a:solidFill>
                  <a:prstClr val="black">
                    <a:lumMod val="85000"/>
                    <a:lumOff val="15000"/>
                  </a:prstClr>
                </a:solidFill>
              </a:rPr>
              <a:t>On Azure (DWaaS)</a:t>
            </a:r>
          </a:p>
          <a:p>
            <a:pPr algn="ctr" fontAlgn="base">
              <a:spcBef>
                <a:spcPct val="0"/>
              </a:spcBef>
              <a:spcAft>
                <a:spcPct val="0"/>
              </a:spcAft>
            </a:pPr>
            <a:endParaRPr lang="en-US" sz="563" dirty="0">
              <a:solidFill>
                <a:prstClr val="black">
                  <a:lumMod val="85000"/>
                  <a:lumOff val="15000"/>
                </a:prstClr>
              </a:solidFill>
            </a:endParaRPr>
          </a:p>
          <a:p>
            <a:pPr algn="ctr" fontAlgn="base">
              <a:spcBef>
                <a:spcPct val="0"/>
              </a:spcBef>
              <a:spcAft>
                <a:spcPct val="0"/>
              </a:spcAft>
            </a:pPr>
            <a:r>
              <a:rPr lang="en-US" sz="563" dirty="0">
                <a:solidFill>
                  <a:prstClr val="black">
                    <a:lumMod val="85000"/>
                    <a:lumOff val="15000"/>
                  </a:prstClr>
                </a:solidFill>
              </a:rPr>
              <a:t>EDW | TDA</a:t>
            </a:r>
          </a:p>
        </p:txBody>
      </p:sp>
      <p:sp>
        <p:nvSpPr>
          <p:cNvPr id="32" name="Rectangle 31">
            <a:extLst>
              <a:ext uri="{FF2B5EF4-FFF2-40B4-BE49-F238E27FC236}">
                <a16:creationId xmlns:a16="http://schemas.microsoft.com/office/drawing/2014/main" id="{8081FC01-B071-AB46-B651-63565AA732E0}"/>
              </a:ext>
            </a:extLst>
          </p:cNvPr>
          <p:cNvSpPr/>
          <p:nvPr/>
        </p:nvSpPr>
        <p:spPr>
          <a:xfrm>
            <a:off x="6049348" y="3373676"/>
            <a:ext cx="773041" cy="454431"/>
          </a:xfrm>
          <a:prstGeom prst="rect">
            <a:avLst/>
          </a:prstGeom>
          <a:solidFill>
            <a:schemeClr val="accent1">
              <a:lumMod val="60000"/>
              <a:lumOff val="4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Azure Analysis Services (PaaS)</a:t>
            </a:r>
          </a:p>
        </p:txBody>
      </p:sp>
      <p:sp>
        <p:nvSpPr>
          <p:cNvPr id="33" name="Plaque 32">
            <a:extLst>
              <a:ext uri="{FF2B5EF4-FFF2-40B4-BE49-F238E27FC236}">
                <a16:creationId xmlns:a16="http://schemas.microsoft.com/office/drawing/2014/main" id="{F2DCB375-D7EE-5944-9740-F11D28E23667}"/>
              </a:ext>
            </a:extLst>
          </p:cNvPr>
          <p:cNvSpPr/>
          <p:nvPr/>
        </p:nvSpPr>
        <p:spPr>
          <a:xfrm>
            <a:off x="4390025" y="3239793"/>
            <a:ext cx="695215" cy="657091"/>
          </a:xfrm>
          <a:prstGeom prst="plaque">
            <a:avLst/>
          </a:prstGeom>
          <a:solidFill>
            <a:schemeClr val="accent1">
              <a:lumMod val="60000"/>
              <a:lumOff val="4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563" dirty="0">
                <a:solidFill>
                  <a:prstClr val="black">
                    <a:lumMod val="85000"/>
                    <a:lumOff val="15000"/>
                  </a:prstClr>
                </a:solidFill>
              </a:rPr>
              <a:t>Azure On Prem Data Gateway (VM)</a:t>
            </a:r>
          </a:p>
        </p:txBody>
      </p:sp>
      <p:cxnSp>
        <p:nvCxnSpPr>
          <p:cNvPr id="34" name="Elbow Connector 33">
            <a:extLst>
              <a:ext uri="{FF2B5EF4-FFF2-40B4-BE49-F238E27FC236}">
                <a16:creationId xmlns:a16="http://schemas.microsoft.com/office/drawing/2014/main" id="{D4E5755D-8410-B04D-9E67-24E52B65388B}"/>
              </a:ext>
            </a:extLst>
          </p:cNvPr>
          <p:cNvCxnSpPr>
            <a:cxnSpLocks/>
            <a:stCxn id="31" idx="4"/>
            <a:endCxn id="29" idx="1"/>
          </p:cNvCxnSpPr>
          <p:nvPr/>
        </p:nvCxnSpPr>
        <p:spPr>
          <a:xfrm>
            <a:off x="3506194" y="3559883"/>
            <a:ext cx="785384" cy="4185"/>
          </a:xfrm>
          <a:prstGeom prst="bentConnector3">
            <a:avLst/>
          </a:prstGeom>
          <a:ln>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35" name="Rectangle 34">
            <a:extLst>
              <a:ext uri="{FF2B5EF4-FFF2-40B4-BE49-F238E27FC236}">
                <a16:creationId xmlns:a16="http://schemas.microsoft.com/office/drawing/2014/main" id="{502728EB-ABA5-464F-836B-5325884D1FF2}"/>
              </a:ext>
            </a:extLst>
          </p:cNvPr>
          <p:cNvSpPr/>
          <p:nvPr/>
        </p:nvSpPr>
        <p:spPr>
          <a:xfrm>
            <a:off x="2796628" y="2820707"/>
            <a:ext cx="797796" cy="429458"/>
          </a:xfrm>
          <a:prstGeom prst="rect">
            <a:avLst/>
          </a:prstGeom>
        </p:spPr>
        <p:txBody>
          <a:bodyPr wrap="square">
            <a:spAutoFit/>
          </a:bodyPr>
          <a:lstStyle/>
          <a:p>
            <a:pPr algn="ctr" fontAlgn="base">
              <a:spcBef>
                <a:spcPct val="0"/>
              </a:spcBef>
              <a:spcAft>
                <a:spcPct val="0"/>
              </a:spcAft>
            </a:pPr>
            <a:r>
              <a:rPr lang="en-US" sz="788" dirty="0">
                <a:solidFill>
                  <a:prstClr val="white">
                    <a:lumMod val="50000"/>
                  </a:prstClr>
                </a:solidFill>
              </a:rPr>
              <a:t>Data warehouse</a:t>
            </a:r>
          </a:p>
        </p:txBody>
      </p:sp>
      <p:cxnSp>
        <p:nvCxnSpPr>
          <p:cNvPr id="36" name="Elbow Connector 35">
            <a:extLst>
              <a:ext uri="{FF2B5EF4-FFF2-40B4-BE49-F238E27FC236}">
                <a16:creationId xmlns:a16="http://schemas.microsoft.com/office/drawing/2014/main" id="{BF766E97-BD99-2943-8C9F-A496D413D0C3}"/>
              </a:ext>
            </a:extLst>
          </p:cNvPr>
          <p:cNvCxnSpPr>
            <a:cxnSpLocks/>
            <a:endCxn id="31" idx="2"/>
          </p:cNvCxnSpPr>
          <p:nvPr/>
        </p:nvCxnSpPr>
        <p:spPr>
          <a:xfrm>
            <a:off x="2076576" y="3279950"/>
            <a:ext cx="825481" cy="279933"/>
          </a:xfrm>
          <a:prstGeom prst="bentConnector3">
            <a:avLst>
              <a:gd name="adj1" fmla="val 50000"/>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37" name="Elbow Connector 36">
            <a:extLst>
              <a:ext uri="{FF2B5EF4-FFF2-40B4-BE49-F238E27FC236}">
                <a16:creationId xmlns:a16="http://schemas.microsoft.com/office/drawing/2014/main" id="{05B7A37B-EFCC-734F-A74C-15DCC6E506A6}"/>
              </a:ext>
            </a:extLst>
          </p:cNvPr>
          <p:cNvCxnSpPr>
            <a:cxnSpLocks/>
            <a:stCxn id="38" idx="2"/>
            <a:endCxn id="30" idx="3"/>
          </p:cNvCxnSpPr>
          <p:nvPr/>
        </p:nvCxnSpPr>
        <p:spPr>
          <a:xfrm rot="5400000">
            <a:off x="7028899" y="2789135"/>
            <a:ext cx="714560" cy="843694"/>
          </a:xfrm>
          <a:prstGeom prst="bentConnector2">
            <a:avLst/>
          </a:prstGeom>
          <a:ln>
            <a:solidFill>
              <a:srgbClr val="7030A0"/>
            </a:solidFill>
            <a:tailEnd type="triangle"/>
          </a:ln>
        </p:spPr>
        <p:style>
          <a:lnRef idx="1">
            <a:schemeClr val="accent3"/>
          </a:lnRef>
          <a:fillRef idx="0">
            <a:schemeClr val="accent3"/>
          </a:fillRef>
          <a:effectRef idx="0">
            <a:schemeClr val="accent3"/>
          </a:effectRef>
          <a:fontRef idx="minor">
            <a:schemeClr val="tx1"/>
          </a:fontRef>
        </p:style>
      </p:cxnSp>
      <p:pic>
        <p:nvPicPr>
          <p:cNvPr id="38" name="Picture 2" descr="Image result for power bi service png"/>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t="-455"/>
          <a:stretch/>
        </p:blipFill>
        <p:spPr bwMode="auto">
          <a:xfrm>
            <a:off x="7317244" y="2024866"/>
            <a:ext cx="981563" cy="828836"/>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Elbow Connector 38">
            <a:extLst>
              <a:ext uri="{FF2B5EF4-FFF2-40B4-BE49-F238E27FC236}">
                <a16:creationId xmlns:a16="http://schemas.microsoft.com/office/drawing/2014/main" id="{A1A08D11-E0D3-0342-8798-6738F847C02A}"/>
              </a:ext>
            </a:extLst>
          </p:cNvPr>
          <p:cNvCxnSpPr>
            <a:cxnSpLocks/>
            <a:endCxn id="30" idx="2"/>
          </p:cNvCxnSpPr>
          <p:nvPr/>
        </p:nvCxnSpPr>
        <p:spPr>
          <a:xfrm flipV="1">
            <a:off x="2017695" y="3952452"/>
            <a:ext cx="4439922" cy="316272"/>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sp>
        <p:nvSpPr>
          <p:cNvPr id="40" name="TextBox 39">
            <a:extLst>
              <a:ext uri="{FF2B5EF4-FFF2-40B4-BE49-F238E27FC236}">
                <a16:creationId xmlns:a16="http://schemas.microsoft.com/office/drawing/2014/main" id="{2A63A9BF-DBE8-4C47-BD21-F650862B7EB9}"/>
              </a:ext>
            </a:extLst>
          </p:cNvPr>
          <p:cNvSpPr txBox="1"/>
          <p:nvPr/>
        </p:nvSpPr>
        <p:spPr>
          <a:xfrm rot="16200000">
            <a:off x="5776297" y="3347263"/>
            <a:ext cx="359061" cy="1741173"/>
          </a:xfrm>
          <a:prstGeom prst="rect">
            <a:avLst/>
          </a:prstGeom>
          <a:noFill/>
        </p:spPr>
        <p:txBody>
          <a:bodyPr vert="eaVert" wrap="square" rtlCol="0">
            <a:spAutoFit/>
          </a:bodyPr>
          <a:lstStyle/>
          <a:p>
            <a:pPr algn="ctr" fontAlgn="base">
              <a:spcBef>
                <a:spcPct val="0"/>
              </a:spcBef>
              <a:spcAft>
                <a:spcPct val="0"/>
              </a:spcAft>
            </a:pPr>
            <a:r>
              <a:rPr lang="en-AU" sz="619" dirty="0">
                <a:solidFill>
                  <a:srgbClr val="FFB800"/>
                </a:solidFill>
              </a:rPr>
              <a:t>Access Governed Models</a:t>
            </a:r>
          </a:p>
        </p:txBody>
      </p:sp>
      <p:cxnSp>
        <p:nvCxnSpPr>
          <p:cNvPr id="41" name="Elbow Connector 40">
            <a:extLst>
              <a:ext uri="{FF2B5EF4-FFF2-40B4-BE49-F238E27FC236}">
                <a16:creationId xmlns:a16="http://schemas.microsoft.com/office/drawing/2014/main" id="{43A557A9-27C6-0541-ABAF-803CDCAE0958}"/>
              </a:ext>
            </a:extLst>
          </p:cNvPr>
          <p:cNvCxnSpPr>
            <a:cxnSpLocks/>
            <a:stCxn id="8" idx="3"/>
            <a:endCxn id="9" idx="1"/>
          </p:cNvCxnSpPr>
          <p:nvPr/>
        </p:nvCxnSpPr>
        <p:spPr>
          <a:xfrm>
            <a:off x="5165517" y="2109159"/>
            <a:ext cx="785384" cy="4192"/>
          </a:xfrm>
          <a:prstGeom prst="bentConnector3">
            <a:avLst/>
          </a:prstGeom>
          <a:ln>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42" name="Elbow Connector 41">
            <a:extLst>
              <a:ext uri="{FF2B5EF4-FFF2-40B4-BE49-F238E27FC236}">
                <a16:creationId xmlns:a16="http://schemas.microsoft.com/office/drawing/2014/main" id="{564E5612-2AD8-0647-8D0D-EC35385AD749}"/>
              </a:ext>
            </a:extLst>
          </p:cNvPr>
          <p:cNvCxnSpPr>
            <a:cxnSpLocks/>
            <a:stCxn id="29" idx="3"/>
            <a:endCxn id="30" idx="1"/>
          </p:cNvCxnSpPr>
          <p:nvPr/>
        </p:nvCxnSpPr>
        <p:spPr>
          <a:xfrm>
            <a:off x="5165517" y="3564068"/>
            <a:ext cx="785384" cy="4193"/>
          </a:xfrm>
          <a:prstGeom prst="bentConnector3">
            <a:avLst>
              <a:gd name="adj1" fmla="val 50000"/>
            </a:avLst>
          </a:prstGeom>
          <a:ln>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43" name="Elbow Connector 42">
            <a:extLst>
              <a:ext uri="{FF2B5EF4-FFF2-40B4-BE49-F238E27FC236}">
                <a16:creationId xmlns:a16="http://schemas.microsoft.com/office/drawing/2014/main" id="{BAE7B6F4-3EE3-C041-ABE5-EAEBE23B7FED}"/>
              </a:ext>
            </a:extLst>
          </p:cNvPr>
          <p:cNvCxnSpPr>
            <a:cxnSpLocks/>
            <a:stCxn id="20" idx="3"/>
            <a:endCxn id="31" idx="3"/>
          </p:cNvCxnSpPr>
          <p:nvPr/>
        </p:nvCxnSpPr>
        <p:spPr>
          <a:xfrm flipV="1">
            <a:off x="2005385" y="3926324"/>
            <a:ext cx="1198741" cy="153456"/>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44" name="Rounded Rectangle 43">
            <a:extLst>
              <a:ext uri="{FF2B5EF4-FFF2-40B4-BE49-F238E27FC236}">
                <a16:creationId xmlns:a16="http://schemas.microsoft.com/office/drawing/2014/main" id="{ACE84399-3152-6946-8087-E3EC312A5714}"/>
              </a:ext>
            </a:extLst>
          </p:cNvPr>
          <p:cNvSpPr/>
          <p:nvPr/>
        </p:nvSpPr>
        <p:spPr>
          <a:xfrm>
            <a:off x="1179842" y="2085735"/>
            <a:ext cx="873939" cy="1449747"/>
          </a:xfrm>
          <a:prstGeom prst="roundRect">
            <a:avLst/>
          </a:prstGeom>
          <a:solidFill>
            <a:schemeClr val="accent3"/>
          </a:solidFill>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r>
              <a:rPr lang="en-US" sz="591" dirty="0">
                <a:solidFill>
                  <a:prstClr val="white"/>
                </a:solidFill>
              </a:rPr>
              <a:t>Source Systems / </a:t>
            </a:r>
            <a:r>
              <a:rPr lang="en-US" sz="591" dirty="0" smtClean="0">
                <a:solidFill>
                  <a:prstClr val="white"/>
                </a:solidFill>
              </a:rPr>
              <a:t>Oracle Data Warehouse</a:t>
            </a: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a:p>
            <a:pPr algn="ctr" fontAlgn="base">
              <a:spcBef>
                <a:spcPct val="0"/>
              </a:spcBef>
              <a:spcAft>
                <a:spcPct val="0"/>
              </a:spcAft>
            </a:pPr>
            <a:endParaRPr lang="en-US" sz="591" dirty="0">
              <a:solidFill>
                <a:prstClr val="white"/>
              </a:solidFill>
            </a:endParaRPr>
          </a:p>
        </p:txBody>
      </p:sp>
      <p:sp>
        <p:nvSpPr>
          <p:cNvPr id="45" name="TextBox 44">
            <a:extLst>
              <a:ext uri="{FF2B5EF4-FFF2-40B4-BE49-F238E27FC236}">
                <a16:creationId xmlns:a16="http://schemas.microsoft.com/office/drawing/2014/main" id="{B59FD186-1B32-944C-BDAC-3395B4F77C42}"/>
              </a:ext>
            </a:extLst>
          </p:cNvPr>
          <p:cNvSpPr txBox="1"/>
          <p:nvPr/>
        </p:nvSpPr>
        <p:spPr>
          <a:xfrm rot="16200000">
            <a:off x="7238635" y="3098041"/>
            <a:ext cx="603479" cy="570806"/>
          </a:xfrm>
          <a:prstGeom prst="rect">
            <a:avLst/>
          </a:prstGeom>
          <a:noFill/>
        </p:spPr>
        <p:txBody>
          <a:bodyPr vert="eaVert" wrap="square" rtlCol="0">
            <a:spAutoFit/>
          </a:bodyPr>
          <a:lstStyle/>
          <a:p>
            <a:pPr algn="ctr" fontAlgn="base">
              <a:spcBef>
                <a:spcPct val="0"/>
              </a:spcBef>
              <a:spcAft>
                <a:spcPct val="0"/>
              </a:spcAft>
            </a:pPr>
            <a:r>
              <a:rPr lang="en-AU" sz="619" dirty="0">
                <a:solidFill>
                  <a:srgbClr val="7030A0"/>
                </a:solidFill>
              </a:rPr>
              <a:t>Access Governed Data</a:t>
            </a:r>
          </a:p>
        </p:txBody>
      </p:sp>
    </p:spTree>
    <p:extLst>
      <p:ext uri="{BB962C8B-B14F-4D97-AF65-F5344CB8AC3E}">
        <p14:creationId xmlns:p14="http://schemas.microsoft.com/office/powerpoint/2010/main" val="42266983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E098794F-832B-4F38-A1D4-5B9FEBAB76C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1000"/>
                    </a14:imgEffect>
                  </a14:imgLayer>
                </a14:imgProps>
              </a:ext>
              <a:ext uri="{837473B0-CC2E-450A-ABE3-18F120FF3D39}">
                <a1611:picAttrSrcUrl xmlns:a1611="http://schemas.microsoft.com/office/drawing/2016/11/main" xmlns="" r:id="rId5"/>
              </a:ext>
            </a:extLst>
          </a:blip>
          <a:srcRect t="18220" b="18220"/>
          <a:stretch>
            <a:fillRect/>
          </a:stretch>
        </p:blipFill>
        <p:spPr>
          <a:xfrm>
            <a:off x="-10436" y="0"/>
            <a:ext cx="9154436" cy="5143500"/>
          </a:xfrm>
          <a:prstGeom prst="rect">
            <a:avLst/>
          </a:prstGeom>
        </p:spPr>
      </p:pic>
      <p:sp>
        <p:nvSpPr>
          <p:cNvPr id="7" name="Title 6">
            <a:extLst>
              <a:ext uri="{FF2B5EF4-FFF2-40B4-BE49-F238E27FC236}">
                <a16:creationId xmlns:a16="http://schemas.microsoft.com/office/drawing/2014/main" id="{F063F71D-7E18-4466-BC5B-6A3158EA1FCD}"/>
              </a:ext>
            </a:extLst>
          </p:cNvPr>
          <p:cNvSpPr>
            <a:spLocks noGrp="1"/>
          </p:cNvSpPr>
          <p:nvPr>
            <p:ph type="title"/>
          </p:nvPr>
        </p:nvSpPr>
        <p:spPr>
          <a:xfrm>
            <a:off x="1" y="577206"/>
            <a:ext cx="9143999" cy="946794"/>
          </a:xfrm>
          <a:solidFill>
            <a:srgbClr val="343433"/>
          </a:solidFill>
        </p:spPr>
        <p:txBody>
          <a:bodyPr/>
          <a:lstStyle/>
          <a:p>
            <a:r>
              <a:rPr lang="en-AU" sz="2800" dirty="0">
                <a:solidFill>
                  <a:schemeClr val="bg1"/>
                </a:solidFill>
              </a:rPr>
              <a:t>M</a:t>
            </a:r>
            <a:r>
              <a:rPr lang="en-AU" sz="2800" dirty="0" smtClean="0">
                <a:solidFill>
                  <a:schemeClr val="bg1"/>
                </a:solidFill>
              </a:rPr>
              <a:t>aking </a:t>
            </a:r>
            <a:r>
              <a:rPr lang="en-AU" sz="2800" dirty="0">
                <a:solidFill>
                  <a:schemeClr val="bg1"/>
                </a:solidFill>
              </a:rPr>
              <a:t>crucial information more </a:t>
            </a:r>
            <a:r>
              <a:rPr lang="en-AU" sz="2800" dirty="0" smtClean="0">
                <a:solidFill>
                  <a:schemeClr val="bg1"/>
                </a:solidFill>
              </a:rPr>
              <a:t>accessible via persona-based </a:t>
            </a:r>
            <a:r>
              <a:rPr lang="en-AU" sz="2800" dirty="0">
                <a:solidFill>
                  <a:schemeClr val="bg1"/>
                </a:solidFill>
              </a:rPr>
              <a:t>and </a:t>
            </a:r>
            <a:r>
              <a:rPr lang="en-AU" sz="2800" dirty="0" smtClean="0">
                <a:solidFill>
                  <a:schemeClr val="bg1"/>
                </a:solidFill>
              </a:rPr>
              <a:t>self-serve analytics </a:t>
            </a:r>
            <a:endParaRPr lang="en-AU" sz="2800" dirty="0">
              <a:solidFill>
                <a:schemeClr val="bg1"/>
              </a:solidFill>
            </a:endParaRPr>
          </a:p>
        </p:txBody>
      </p:sp>
    </p:spTree>
    <p:extLst>
      <p:ext uri="{BB962C8B-B14F-4D97-AF65-F5344CB8AC3E}">
        <p14:creationId xmlns:p14="http://schemas.microsoft.com/office/powerpoint/2010/main" val="3967020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027DB-2ABA-4019-A5E4-9CE0D832D42B}"/>
              </a:ext>
            </a:extLst>
          </p:cNvPr>
          <p:cNvSpPr>
            <a:spLocks noGrp="1"/>
          </p:cNvSpPr>
          <p:nvPr>
            <p:ph type="title"/>
          </p:nvPr>
        </p:nvSpPr>
        <p:spPr>
          <a:xfrm>
            <a:off x="437526" y="178663"/>
            <a:ext cx="8229600" cy="857250"/>
          </a:xfrm>
        </p:spPr>
        <p:txBody>
          <a:bodyPr/>
          <a:lstStyle/>
          <a:p>
            <a:r>
              <a:rPr lang="en-US" dirty="0" smtClean="0"/>
              <a:t>Creating a federated approach to share and connect people and data</a:t>
            </a:r>
            <a:endParaRPr lang="en-AU" dirty="0"/>
          </a:p>
        </p:txBody>
      </p:sp>
      <p:pic>
        <p:nvPicPr>
          <p:cNvPr id="6" name="Picture 31">
            <a:extLst>
              <a:ext uri="{FF2B5EF4-FFF2-40B4-BE49-F238E27FC236}">
                <a16:creationId xmlns:a16="http://schemas.microsoft.com/office/drawing/2014/main" id="{8B750BBC-0753-4584-A063-0C0F1E6E1035}"/>
              </a:ext>
            </a:extLst>
          </p:cNvPr>
          <p:cNvPicPr>
            <a:picLocks noChangeAspect="1"/>
          </p:cNvPicPr>
          <p:nvPr/>
        </p:nvPicPr>
        <p:blipFill>
          <a:blip r:embed="rId3"/>
          <a:stretch>
            <a:fillRect/>
          </a:stretch>
        </p:blipFill>
        <p:spPr>
          <a:xfrm>
            <a:off x="202892" y="3160082"/>
            <a:ext cx="469128" cy="524125"/>
          </a:xfrm>
          <a:prstGeom prst="rect">
            <a:avLst/>
          </a:prstGeom>
        </p:spPr>
      </p:pic>
      <p:sp>
        <p:nvSpPr>
          <p:cNvPr id="7" name="TextBox 6">
            <a:extLst>
              <a:ext uri="{FF2B5EF4-FFF2-40B4-BE49-F238E27FC236}">
                <a16:creationId xmlns:a16="http://schemas.microsoft.com/office/drawing/2014/main" id="{C1B3AB5C-25A1-434F-B9C7-3924232C157B}"/>
              </a:ext>
            </a:extLst>
          </p:cNvPr>
          <p:cNvSpPr txBox="1"/>
          <p:nvPr/>
        </p:nvSpPr>
        <p:spPr>
          <a:xfrm>
            <a:off x="249613" y="2913861"/>
            <a:ext cx="469128" cy="246221"/>
          </a:xfrm>
          <a:prstGeom prst="rect">
            <a:avLst/>
          </a:prstGeom>
          <a:noFill/>
        </p:spPr>
        <p:txBody>
          <a:bodyPr wrap="square" rtlCol="0">
            <a:spAutoFit/>
          </a:bodyPr>
          <a:lstStyle/>
          <a:p>
            <a:r>
              <a:rPr lang="en-US" sz="1000" dirty="0"/>
              <a:t>IAP</a:t>
            </a:r>
            <a:endParaRPr lang="en-AU" sz="1000" dirty="0"/>
          </a:p>
        </p:txBody>
      </p:sp>
      <p:pic>
        <p:nvPicPr>
          <p:cNvPr id="8" name="Picture 12" descr="A picture containing clothing&#10;&#10;Description generated with high confidence">
            <a:extLst>
              <a:ext uri="{FF2B5EF4-FFF2-40B4-BE49-F238E27FC236}">
                <a16:creationId xmlns:a16="http://schemas.microsoft.com/office/drawing/2014/main" id="{3C26A3F2-5E90-4BFE-BEE7-92B37D9256B0}"/>
              </a:ext>
            </a:extLst>
          </p:cNvPr>
          <p:cNvPicPr>
            <a:picLocks noChangeAspect="1"/>
          </p:cNvPicPr>
          <p:nvPr/>
        </p:nvPicPr>
        <p:blipFill>
          <a:blip r:embed="rId4"/>
          <a:stretch>
            <a:fillRect/>
          </a:stretch>
        </p:blipFill>
        <p:spPr>
          <a:xfrm>
            <a:off x="2184531" y="2264604"/>
            <a:ext cx="469127" cy="535538"/>
          </a:xfrm>
          <a:prstGeom prst="rect">
            <a:avLst/>
          </a:prstGeom>
        </p:spPr>
      </p:pic>
      <p:sp>
        <p:nvSpPr>
          <p:cNvPr id="9" name="TextBox 8">
            <a:extLst>
              <a:ext uri="{FF2B5EF4-FFF2-40B4-BE49-F238E27FC236}">
                <a16:creationId xmlns:a16="http://schemas.microsoft.com/office/drawing/2014/main" id="{61B80392-3229-4D96-9D5F-E8C0C75A593C}"/>
              </a:ext>
            </a:extLst>
          </p:cNvPr>
          <p:cNvSpPr txBox="1"/>
          <p:nvPr/>
        </p:nvSpPr>
        <p:spPr>
          <a:xfrm>
            <a:off x="2153125" y="1822983"/>
            <a:ext cx="758509" cy="400110"/>
          </a:xfrm>
          <a:prstGeom prst="rect">
            <a:avLst/>
          </a:prstGeom>
          <a:noFill/>
        </p:spPr>
        <p:txBody>
          <a:bodyPr wrap="square" rtlCol="0">
            <a:spAutoFit/>
          </a:bodyPr>
          <a:lstStyle/>
          <a:p>
            <a:r>
              <a:rPr lang="en-US" sz="1000" dirty="0"/>
              <a:t>Power User</a:t>
            </a:r>
            <a:endParaRPr lang="en-AU" sz="1000" dirty="0"/>
          </a:p>
        </p:txBody>
      </p:sp>
      <p:cxnSp>
        <p:nvCxnSpPr>
          <p:cNvPr id="11" name="Connector: Elbow 10">
            <a:extLst>
              <a:ext uri="{FF2B5EF4-FFF2-40B4-BE49-F238E27FC236}">
                <a16:creationId xmlns:a16="http://schemas.microsoft.com/office/drawing/2014/main" id="{BE9B6D12-0A80-4A2B-B886-7FB94C456365}"/>
              </a:ext>
            </a:extLst>
          </p:cNvPr>
          <p:cNvCxnSpPr>
            <a:cxnSpLocks/>
            <a:stCxn id="8" idx="1"/>
          </p:cNvCxnSpPr>
          <p:nvPr/>
        </p:nvCxnSpPr>
        <p:spPr>
          <a:xfrm rot="10800000" flipV="1">
            <a:off x="492781" y="2532373"/>
            <a:ext cx="1691751" cy="401652"/>
          </a:xfrm>
          <a:prstGeom prst="bentConnector3">
            <a:avLst>
              <a:gd name="adj1" fmla="val 100500"/>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932BDEFA-1D9B-4E35-8B47-79B07CF92391}"/>
              </a:ext>
            </a:extLst>
          </p:cNvPr>
          <p:cNvSpPr txBox="1"/>
          <p:nvPr/>
        </p:nvSpPr>
        <p:spPr>
          <a:xfrm>
            <a:off x="701822" y="2233907"/>
            <a:ext cx="1254047" cy="215444"/>
          </a:xfrm>
          <a:prstGeom prst="rect">
            <a:avLst/>
          </a:prstGeom>
          <a:noFill/>
        </p:spPr>
        <p:txBody>
          <a:bodyPr wrap="square" rtlCol="0">
            <a:spAutoFit/>
          </a:bodyPr>
          <a:lstStyle/>
          <a:p>
            <a:r>
              <a:rPr lang="en-US" sz="800" dirty="0"/>
              <a:t>Request for report</a:t>
            </a:r>
            <a:endParaRPr lang="en-AU" sz="800" dirty="0"/>
          </a:p>
        </p:txBody>
      </p:sp>
      <p:pic>
        <p:nvPicPr>
          <p:cNvPr id="1026" name="Picture 2" descr="Image result for dashboard icon">
            <a:extLst>
              <a:ext uri="{FF2B5EF4-FFF2-40B4-BE49-F238E27FC236}">
                <a16:creationId xmlns:a16="http://schemas.microsoft.com/office/drawing/2014/main" id="{D95B7500-BA29-4C56-8ECF-5847175482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7612" y="3324439"/>
            <a:ext cx="461572" cy="358397"/>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3E453E15-C34D-4BF6-BCEC-95B5D3581EB3}"/>
              </a:ext>
            </a:extLst>
          </p:cNvPr>
          <p:cNvCxnSpPr/>
          <p:nvPr/>
        </p:nvCxnSpPr>
        <p:spPr>
          <a:xfrm>
            <a:off x="718741" y="3500478"/>
            <a:ext cx="131108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C7AD805C-6540-48FF-8DDA-A963CEDA2733}"/>
              </a:ext>
            </a:extLst>
          </p:cNvPr>
          <p:cNvSpPr txBox="1"/>
          <p:nvPr/>
        </p:nvSpPr>
        <p:spPr>
          <a:xfrm>
            <a:off x="718741" y="3278728"/>
            <a:ext cx="1437270" cy="215444"/>
          </a:xfrm>
          <a:prstGeom prst="rect">
            <a:avLst/>
          </a:prstGeom>
          <a:noFill/>
        </p:spPr>
        <p:txBody>
          <a:bodyPr wrap="square" rtlCol="0">
            <a:spAutoFit/>
          </a:bodyPr>
          <a:lstStyle/>
          <a:p>
            <a:r>
              <a:rPr lang="en-US" sz="800" dirty="0"/>
              <a:t>Provide dashboard/report</a:t>
            </a:r>
            <a:endParaRPr lang="en-AU" sz="800" dirty="0"/>
          </a:p>
        </p:txBody>
      </p:sp>
      <p:pic>
        <p:nvPicPr>
          <p:cNvPr id="21" name="Picture 31">
            <a:extLst>
              <a:ext uri="{FF2B5EF4-FFF2-40B4-BE49-F238E27FC236}">
                <a16:creationId xmlns:a16="http://schemas.microsoft.com/office/drawing/2014/main" id="{FA0979CB-942C-430F-9C4E-67FAA815C716}"/>
              </a:ext>
            </a:extLst>
          </p:cNvPr>
          <p:cNvPicPr>
            <a:picLocks noChangeAspect="1"/>
          </p:cNvPicPr>
          <p:nvPr/>
        </p:nvPicPr>
        <p:blipFill>
          <a:blip r:embed="rId3"/>
          <a:stretch>
            <a:fillRect/>
          </a:stretch>
        </p:blipFill>
        <p:spPr>
          <a:xfrm>
            <a:off x="3931606" y="3118369"/>
            <a:ext cx="469128" cy="524125"/>
          </a:xfrm>
          <a:prstGeom prst="rect">
            <a:avLst/>
          </a:prstGeom>
        </p:spPr>
      </p:pic>
      <p:sp>
        <p:nvSpPr>
          <p:cNvPr id="22" name="TextBox 21">
            <a:extLst>
              <a:ext uri="{FF2B5EF4-FFF2-40B4-BE49-F238E27FC236}">
                <a16:creationId xmlns:a16="http://schemas.microsoft.com/office/drawing/2014/main" id="{13394C54-2086-4130-B426-76CD8C4A1F0C}"/>
              </a:ext>
            </a:extLst>
          </p:cNvPr>
          <p:cNvSpPr txBox="1"/>
          <p:nvPr/>
        </p:nvSpPr>
        <p:spPr>
          <a:xfrm>
            <a:off x="3978327" y="2872148"/>
            <a:ext cx="469128" cy="246221"/>
          </a:xfrm>
          <a:prstGeom prst="rect">
            <a:avLst/>
          </a:prstGeom>
          <a:noFill/>
        </p:spPr>
        <p:txBody>
          <a:bodyPr wrap="square" rtlCol="0">
            <a:spAutoFit/>
          </a:bodyPr>
          <a:lstStyle/>
          <a:p>
            <a:r>
              <a:rPr lang="en-US" sz="1000" dirty="0"/>
              <a:t>IAP</a:t>
            </a:r>
            <a:endParaRPr lang="en-AU" sz="1000" dirty="0"/>
          </a:p>
        </p:txBody>
      </p:sp>
      <p:pic>
        <p:nvPicPr>
          <p:cNvPr id="23" name="Picture 12" descr="A picture containing clothing&#10;&#10;Description generated with high confidence">
            <a:extLst>
              <a:ext uri="{FF2B5EF4-FFF2-40B4-BE49-F238E27FC236}">
                <a16:creationId xmlns:a16="http://schemas.microsoft.com/office/drawing/2014/main" id="{34D68E9C-412D-44C3-A922-D74DB7865F8E}"/>
              </a:ext>
            </a:extLst>
          </p:cNvPr>
          <p:cNvPicPr>
            <a:picLocks noChangeAspect="1"/>
          </p:cNvPicPr>
          <p:nvPr/>
        </p:nvPicPr>
        <p:blipFill>
          <a:blip r:embed="rId4"/>
          <a:stretch>
            <a:fillRect/>
          </a:stretch>
        </p:blipFill>
        <p:spPr>
          <a:xfrm>
            <a:off x="5913245" y="2222891"/>
            <a:ext cx="469127" cy="535538"/>
          </a:xfrm>
          <a:prstGeom prst="rect">
            <a:avLst/>
          </a:prstGeom>
        </p:spPr>
      </p:pic>
      <p:sp>
        <p:nvSpPr>
          <p:cNvPr id="24" name="TextBox 23">
            <a:extLst>
              <a:ext uri="{FF2B5EF4-FFF2-40B4-BE49-F238E27FC236}">
                <a16:creationId xmlns:a16="http://schemas.microsoft.com/office/drawing/2014/main" id="{DC5D344B-1DE4-4576-9C03-2A451E7EB542}"/>
              </a:ext>
            </a:extLst>
          </p:cNvPr>
          <p:cNvSpPr txBox="1"/>
          <p:nvPr/>
        </p:nvSpPr>
        <p:spPr>
          <a:xfrm>
            <a:off x="5896326" y="1864494"/>
            <a:ext cx="758509" cy="400110"/>
          </a:xfrm>
          <a:prstGeom prst="rect">
            <a:avLst/>
          </a:prstGeom>
          <a:noFill/>
        </p:spPr>
        <p:txBody>
          <a:bodyPr wrap="square" rtlCol="0">
            <a:spAutoFit/>
          </a:bodyPr>
          <a:lstStyle/>
          <a:p>
            <a:r>
              <a:rPr lang="en-US" sz="1000" dirty="0"/>
              <a:t>Power User</a:t>
            </a:r>
            <a:endParaRPr lang="en-AU" sz="1000" dirty="0"/>
          </a:p>
        </p:txBody>
      </p:sp>
      <p:cxnSp>
        <p:nvCxnSpPr>
          <p:cNvPr id="25" name="Connector: Elbow 24">
            <a:extLst>
              <a:ext uri="{FF2B5EF4-FFF2-40B4-BE49-F238E27FC236}">
                <a16:creationId xmlns:a16="http://schemas.microsoft.com/office/drawing/2014/main" id="{05C03E52-85B8-4BB9-A918-6F219BB1DDC3}"/>
              </a:ext>
            </a:extLst>
          </p:cNvPr>
          <p:cNvCxnSpPr>
            <a:cxnSpLocks/>
            <a:stCxn id="23" idx="1"/>
          </p:cNvCxnSpPr>
          <p:nvPr/>
        </p:nvCxnSpPr>
        <p:spPr>
          <a:xfrm rot="10800000" flipV="1">
            <a:off x="4221495" y="2490660"/>
            <a:ext cx="1691751" cy="401652"/>
          </a:xfrm>
          <a:prstGeom prst="bentConnector3">
            <a:avLst>
              <a:gd name="adj1" fmla="val 100500"/>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3AA5B9BA-AA03-445D-971F-A496CF201C91}"/>
              </a:ext>
            </a:extLst>
          </p:cNvPr>
          <p:cNvSpPr txBox="1"/>
          <p:nvPr/>
        </p:nvSpPr>
        <p:spPr>
          <a:xfrm>
            <a:off x="4447455" y="2215801"/>
            <a:ext cx="1254047" cy="215444"/>
          </a:xfrm>
          <a:prstGeom prst="rect">
            <a:avLst/>
          </a:prstGeom>
          <a:noFill/>
        </p:spPr>
        <p:txBody>
          <a:bodyPr wrap="square" rtlCol="0">
            <a:spAutoFit/>
          </a:bodyPr>
          <a:lstStyle/>
          <a:p>
            <a:r>
              <a:rPr lang="en-US" sz="800" dirty="0"/>
              <a:t>Request for report</a:t>
            </a:r>
            <a:endParaRPr lang="en-AU" sz="800" dirty="0"/>
          </a:p>
        </p:txBody>
      </p:sp>
      <p:pic>
        <p:nvPicPr>
          <p:cNvPr id="27" name="Picture 2" descr="Image result for dashboard icon">
            <a:extLst>
              <a:ext uri="{FF2B5EF4-FFF2-40B4-BE49-F238E27FC236}">
                <a16:creationId xmlns:a16="http://schemas.microsoft.com/office/drawing/2014/main" id="{59C7B339-231D-4380-B77B-FEFA6B7BA3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6218" y="3303024"/>
            <a:ext cx="461572" cy="358397"/>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a:extLst>
              <a:ext uri="{FF2B5EF4-FFF2-40B4-BE49-F238E27FC236}">
                <a16:creationId xmlns:a16="http://schemas.microsoft.com/office/drawing/2014/main" id="{9E009E88-2E5A-4A01-9683-FFCC27DE9F03}"/>
              </a:ext>
            </a:extLst>
          </p:cNvPr>
          <p:cNvCxnSpPr/>
          <p:nvPr/>
        </p:nvCxnSpPr>
        <p:spPr>
          <a:xfrm>
            <a:off x="4447455" y="3458765"/>
            <a:ext cx="131108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81448235-E450-4482-AD8D-D5FE4585FFD4}"/>
              </a:ext>
            </a:extLst>
          </p:cNvPr>
          <p:cNvSpPr txBox="1"/>
          <p:nvPr/>
        </p:nvSpPr>
        <p:spPr>
          <a:xfrm>
            <a:off x="4447455" y="3237015"/>
            <a:ext cx="1437270" cy="215444"/>
          </a:xfrm>
          <a:prstGeom prst="rect">
            <a:avLst/>
          </a:prstGeom>
          <a:noFill/>
        </p:spPr>
        <p:txBody>
          <a:bodyPr wrap="square" rtlCol="0">
            <a:spAutoFit/>
          </a:bodyPr>
          <a:lstStyle/>
          <a:p>
            <a:r>
              <a:rPr lang="en-US" sz="800" dirty="0"/>
              <a:t>Provide dashboard/report</a:t>
            </a:r>
            <a:endParaRPr lang="en-AU" sz="800" dirty="0"/>
          </a:p>
        </p:txBody>
      </p:sp>
      <p:cxnSp>
        <p:nvCxnSpPr>
          <p:cNvPr id="1025" name="Straight Arrow Connector 1024">
            <a:extLst>
              <a:ext uri="{FF2B5EF4-FFF2-40B4-BE49-F238E27FC236}">
                <a16:creationId xmlns:a16="http://schemas.microsoft.com/office/drawing/2014/main" id="{C4AD3D20-A81C-42AC-8615-5E1B33300E84}"/>
              </a:ext>
            </a:extLst>
          </p:cNvPr>
          <p:cNvCxnSpPr>
            <a:cxnSpLocks/>
          </p:cNvCxnSpPr>
          <p:nvPr/>
        </p:nvCxnSpPr>
        <p:spPr>
          <a:xfrm>
            <a:off x="6150916" y="2784724"/>
            <a:ext cx="3857" cy="4522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10E58AFB-979B-4028-B66C-8D439D761C81}"/>
              </a:ext>
            </a:extLst>
          </p:cNvPr>
          <p:cNvSpPr txBox="1"/>
          <p:nvPr/>
        </p:nvSpPr>
        <p:spPr>
          <a:xfrm>
            <a:off x="6197637" y="3000164"/>
            <a:ext cx="731510" cy="338554"/>
          </a:xfrm>
          <a:prstGeom prst="rect">
            <a:avLst/>
          </a:prstGeom>
          <a:noFill/>
        </p:spPr>
        <p:txBody>
          <a:bodyPr wrap="square" rtlCol="0">
            <a:spAutoFit/>
          </a:bodyPr>
          <a:lstStyle/>
          <a:p>
            <a:r>
              <a:rPr lang="en-US" sz="800" dirty="0"/>
              <a:t>Dig deeper into data</a:t>
            </a:r>
            <a:endParaRPr lang="en-AU" sz="800" dirty="0"/>
          </a:p>
        </p:txBody>
      </p:sp>
      <p:cxnSp>
        <p:nvCxnSpPr>
          <p:cNvPr id="1028" name="Straight Arrow Connector 1027">
            <a:extLst>
              <a:ext uri="{FF2B5EF4-FFF2-40B4-BE49-F238E27FC236}">
                <a16:creationId xmlns:a16="http://schemas.microsoft.com/office/drawing/2014/main" id="{43DE40BF-3120-43E6-BB10-7D7A837A9602}"/>
              </a:ext>
            </a:extLst>
          </p:cNvPr>
          <p:cNvCxnSpPr>
            <a:cxnSpLocks/>
            <a:stCxn id="27" idx="3"/>
            <a:endCxn id="1029" idx="1"/>
          </p:cNvCxnSpPr>
          <p:nvPr/>
        </p:nvCxnSpPr>
        <p:spPr>
          <a:xfrm flipV="1">
            <a:off x="6277790" y="3482222"/>
            <a:ext cx="373191"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29" name="Picture 4" descr="Image result for data table icon">
            <a:extLst>
              <a:ext uri="{FF2B5EF4-FFF2-40B4-BE49-F238E27FC236}">
                <a16:creationId xmlns:a16="http://schemas.microsoft.com/office/drawing/2014/main" id="{E1C0D371-F447-4A6E-822F-C82A5E8D90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0981" y="3246920"/>
            <a:ext cx="470604" cy="47060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8" descr="Image result for dashboard icon">
            <a:extLst>
              <a:ext uri="{FF2B5EF4-FFF2-40B4-BE49-F238E27FC236}">
                <a16:creationId xmlns:a16="http://schemas.microsoft.com/office/drawing/2014/main" id="{6015211C-AD1A-4E71-9547-97B81171E5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12251" y="3259228"/>
            <a:ext cx="568358" cy="445987"/>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Arrow Connector 47">
            <a:extLst>
              <a:ext uri="{FF2B5EF4-FFF2-40B4-BE49-F238E27FC236}">
                <a16:creationId xmlns:a16="http://schemas.microsoft.com/office/drawing/2014/main" id="{2A0C97AE-5330-46F2-9AEE-D7A951DC13D9}"/>
              </a:ext>
            </a:extLst>
          </p:cNvPr>
          <p:cNvCxnSpPr>
            <a:cxnSpLocks/>
            <a:stCxn id="1029" idx="3"/>
            <a:endCxn id="1038" idx="1"/>
          </p:cNvCxnSpPr>
          <p:nvPr/>
        </p:nvCxnSpPr>
        <p:spPr>
          <a:xfrm>
            <a:off x="7121585" y="3482222"/>
            <a:ext cx="3906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529E3320-62A5-482C-ABE7-F83C1567479D}"/>
              </a:ext>
            </a:extLst>
          </p:cNvPr>
          <p:cNvSpPr txBox="1"/>
          <p:nvPr/>
        </p:nvSpPr>
        <p:spPr>
          <a:xfrm>
            <a:off x="8170937" y="2860463"/>
            <a:ext cx="731510" cy="338554"/>
          </a:xfrm>
          <a:prstGeom prst="rect">
            <a:avLst/>
          </a:prstGeom>
          <a:noFill/>
        </p:spPr>
        <p:txBody>
          <a:bodyPr wrap="square" rtlCol="0">
            <a:spAutoFit/>
          </a:bodyPr>
          <a:lstStyle/>
          <a:p>
            <a:r>
              <a:rPr lang="en-US" sz="800" dirty="0"/>
              <a:t>Share with other users</a:t>
            </a:r>
            <a:endParaRPr lang="en-AU" sz="800" dirty="0"/>
          </a:p>
        </p:txBody>
      </p:sp>
      <p:pic>
        <p:nvPicPr>
          <p:cNvPr id="53" name="Picture 75" descr="A picture containing toy, doll, vector graphics&#10;&#10;Description generated with very high confidence">
            <a:extLst>
              <a:ext uri="{FF2B5EF4-FFF2-40B4-BE49-F238E27FC236}">
                <a16:creationId xmlns:a16="http://schemas.microsoft.com/office/drawing/2014/main" id="{FCE1D2B0-72BF-4289-934E-775CC7DAC4B2}"/>
              </a:ext>
            </a:extLst>
          </p:cNvPr>
          <p:cNvPicPr>
            <a:picLocks noChangeAspect="1"/>
          </p:cNvPicPr>
          <p:nvPr/>
        </p:nvPicPr>
        <p:blipFill>
          <a:blip r:embed="rId8"/>
          <a:stretch>
            <a:fillRect/>
          </a:stretch>
        </p:blipFill>
        <p:spPr>
          <a:xfrm>
            <a:off x="7642397" y="1589769"/>
            <a:ext cx="863448" cy="952568"/>
          </a:xfrm>
          <a:prstGeom prst="rect">
            <a:avLst/>
          </a:prstGeom>
        </p:spPr>
      </p:pic>
      <p:cxnSp>
        <p:nvCxnSpPr>
          <p:cNvPr id="1043" name="Straight Arrow Connector 1042">
            <a:extLst>
              <a:ext uri="{FF2B5EF4-FFF2-40B4-BE49-F238E27FC236}">
                <a16:creationId xmlns:a16="http://schemas.microsoft.com/office/drawing/2014/main" id="{B77CE1BC-D3F9-4B73-A069-C179B1C96ECE}"/>
              </a:ext>
            </a:extLst>
          </p:cNvPr>
          <p:cNvCxnSpPr>
            <a:cxnSpLocks/>
          </p:cNvCxnSpPr>
          <p:nvPr/>
        </p:nvCxnSpPr>
        <p:spPr>
          <a:xfrm flipV="1">
            <a:off x="7958730" y="2593736"/>
            <a:ext cx="0" cy="5883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45" name="Straight Arrow Connector 1044">
            <a:extLst>
              <a:ext uri="{FF2B5EF4-FFF2-40B4-BE49-F238E27FC236}">
                <a16:creationId xmlns:a16="http://schemas.microsoft.com/office/drawing/2014/main" id="{14AFEB50-CD6D-426E-98DE-28FCB6CFBD75}"/>
              </a:ext>
            </a:extLst>
          </p:cNvPr>
          <p:cNvCxnSpPr>
            <a:cxnSpLocks/>
          </p:cNvCxnSpPr>
          <p:nvPr/>
        </p:nvCxnSpPr>
        <p:spPr>
          <a:xfrm flipV="1">
            <a:off x="8109130" y="2596056"/>
            <a:ext cx="254879" cy="599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47" name="Straight Arrow Connector 1046">
            <a:extLst>
              <a:ext uri="{FF2B5EF4-FFF2-40B4-BE49-F238E27FC236}">
                <a16:creationId xmlns:a16="http://schemas.microsoft.com/office/drawing/2014/main" id="{EDEF982A-5E1D-4E58-BCE4-C42A37A6BAF9}"/>
              </a:ext>
            </a:extLst>
          </p:cNvPr>
          <p:cNvCxnSpPr>
            <a:cxnSpLocks/>
          </p:cNvCxnSpPr>
          <p:nvPr/>
        </p:nvCxnSpPr>
        <p:spPr>
          <a:xfrm flipH="1" flipV="1">
            <a:off x="7663428" y="2596056"/>
            <a:ext cx="172407" cy="599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6" name="TextBox 65">
            <a:extLst>
              <a:ext uri="{FF2B5EF4-FFF2-40B4-BE49-F238E27FC236}">
                <a16:creationId xmlns:a16="http://schemas.microsoft.com/office/drawing/2014/main" id="{7923AF57-54CA-4FCF-B981-CD712DB7AB7D}"/>
              </a:ext>
            </a:extLst>
          </p:cNvPr>
          <p:cNvSpPr txBox="1"/>
          <p:nvPr/>
        </p:nvSpPr>
        <p:spPr>
          <a:xfrm>
            <a:off x="6996988" y="3009440"/>
            <a:ext cx="731510" cy="338554"/>
          </a:xfrm>
          <a:prstGeom prst="rect">
            <a:avLst/>
          </a:prstGeom>
          <a:noFill/>
        </p:spPr>
        <p:txBody>
          <a:bodyPr wrap="square" rtlCol="0">
            <a:spAutoFit/>
          </a:bodyPr>
          <a:lstStyle/>
          <a:p>
            <a:r>
              <a:rPr lang="en-US" sz="800" dirty="0"/>
              <a:t>Self serve new report</a:t>
            </a:r>
            <a:endParaRPr lang="en-AU" sz="800" dirty="0"/>
          </a:p>
        </p:txBody>
      </p:sp>
      <p:cxnSp>
        <p:nvCxnSpPr>
          <p:cNvPr id="36" name="Connector: Elbow 35">
            <a:extLst>
              <a:ext uri="{FF2B5EF4-FFF2-40B4-BE49-F238E27FC236}">
                <a16:creationId xmlns:a16="http://schemas.microsoft.com/office/drawing/2014/main" id="{527695BB-0865-4564-A084-18565E7CC560}"/>
              </a:ext>
            </a:extLst>
          </p:cNvPr>
          <p:cNvCxnSpPr>
            <a:cxnSpLocks/>
            <a:stCxn id="1038" idx="2"/>
            <a:endCxn id="21" idx="2"/>
          </p:cNvCxnSpPr>
          <p:nvPr/>
        </p:nvCxnSpPr>
        <p:spPr>
          <a:xfrm rot="5400000" flipH="1">
            <a:off x="5949939" y="1858725"/>
            <a:ext cx="62721" cy="3630260"/>
          </a:xfrm>
          <a:prstGeom prst="bentConnector3">
            <a:avLst>
              <a:gd name="adj1" fmla="val -364471"/>
            </a:avLst>
          </a:prstGeom>
          <a:ln>
            <a:tailEnd type="triangle"/>
          </a:ln>
        </p:spPr>
        <p:style>
          <a:lnRef idx="2">
            <a:schemeClr val="accent1"/>
          </a:lnRef>
          <a:fillRef idx="0">
            <a:schemeClr val="accent1"/>
          </a:fillRef>
          <a:effectRef idx="1">
            <a:schemeClr val="accent1"/>
          </a:effectRef>
          <a:fontRef idx="minor">
            <a:schemeClr val="tx1"/>
          </a:fontRef>
        </p:style>
      </p:cxnSp>
      <p:sp>
        <p:nvSpPr>
          <p:cNvPr id="78" name="TextBox 77">
            <a:extLst>
              <a:ext uri="{FF2B5EF4-FFF2-40B4-BE49-F238E27FC236}">
                <a16:creationId xmlns:a16="http://schemas.microsoft.com/office/drawing/2014/main" id="{943A6DEB-D0AE-4C12-8DCB-C8BF47133120}"/>
              </a:ext>
            </a:extLst>
          </p:cNvPr>
          <p:cNvSpPr txBox="1"/>
          <p:nvPr/>
        </p:nvSpPr>
        <p:spPr>
          <a:xfrm>
            <a:off x="5127919" y="4016269"/>
            <a:ext cx="1869069" cy="338554"/>
          </a:xfrm>
          <a:prstGeom prst="rect">
            <a:avLst/>
          </a:prstGeom>
          <a:noFill/>
        </p:spPr>
        <p:txBody>
          <a:bodyPr wrap="square" rtlCol="0">
            <a:spAutoFit/>
          </a:bodyPr>
          <a:lstStyle/>
          <a:p>
            <a:r>
              <a:rPr lang="en-US" sz="800" dirty="0"/>
              <a:t>Valuable new reports identified and offered based on new insights</a:t>
            </a:r>
            <a:endParaRPr lang="en-AU" sz="800" dirty="0"/>
          </a:p>
        </p:txBody>
      </p:sp>
      <p:cxnSp>
        <p:nvCxnSpPr>
          <p:cNvPr id="44" name="Straight Arrow Connector 43">
            <a:extLst>
              <a:ext uri="{FF2B5EF4-FFF2-40B4-BE49-F238E27FC236}">
                <a16:creationId xmlns:a16="http://schemas.microsoft.com/office/drawing/2014/main" id="{B276BEC2-1529-4C35-B3F5-806373B7CE1F}"/>
              </a:ext>
            </a:extLst>
          </p:cNvPr>
          <p:cNvCxnSpPr/>
          <p:nvPr/>
        </p:nvCxnSpPr>
        <p:spPr>
          <a:xfrm flipV="1">
            <a:off x="2419094" y="2868150"/>
            <a:ext cx="0" cy="3939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9" name="Arrow: Right 9">
            <a:extLst>
              <a:ext uri="{FF2B5EF4-FFF2-40B4-BE49-F238E27FC236}">
                <a16:creationId xmlns:a16="http://schemas.microsoft.com/office/drawing/2014/main" id="{CF4D276B-AB0D-4BFC-8A29-C5F4F9A9A879}"/>
              </a:ext>
            </a:extLst>
          </p:cNvPr>
          <p:cNvSpPr/>
          <p:nvPr/>
        </p:nvSpPr>
        <p:spPr>
          <a:xfrm>
            <a:off x="2840927" y="1028041"/>
            <a:ext cx="967783" cy="3410316"/>
          </a:xfrm>
          <a:prstGeom prst="rightArrow">
            <a:avLst/>
          </a:prstGeom>
          <a:solidFill>
            <a:schemeClr val="bg1">
              <a:lumMod val="6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To be process</a:t>
            </a:r>
            <a:endParaRPr lang="en-AU" sz="1200" dirty="0"/>
          </a:p>
        </p:txBody>
      </p:sp>
      <p:cxnSp>
        <p:nvCxnSpPr>
          <p:cNvPr id="40" name="Straight Arrow Connector 39">
            <a:extLst>
              <a:ext uri="{FF2B5EF4-FFF2-40B4-BE49-F238E27FC236}">
                <a16:creationId xmlns:a16="http://schemas.microsoft.com/office/drawing/2014/main" id="{EDEF982A-5E1D-4E58-BCE4-C42A37A6BAF9}"/>
              </a:ext>
            </a:extLst>
          </p:cNvPr>
          <p:cNvCxnSpPr>
            <a:cxnSpLocks/>
          </p:cNvCxnSpPr>
          <p:nvPr/>
        </p:nvCxnSpPr>
        <p:spPr>
          <a:xfrm>
            <a:off x="6496770" y="2064549"/>
            <a:ext cx="1015481" cy="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32604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view of a city street&#10;&#10;Description automatically generated">
            <a:extLst>
              <a:ext uri="{FF2B5EF4-FFF2-40B4-BE49-F238E27FC236}">
                <a16:creationId xmlns:a16="http://schemas.microsoft.com/office/drawing/2014/main" id="{1B6FAD2B-E6B7-DF44-A9AB-2E67C032A36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2" name="Title 6">
            <a:extLst>
              <a:ext uri="{FF2B5EF4-FFF2-40B4-BE49-F238E27FC236}">
                <a16:creationId xmlns:a16="http://schemas.microsoft.com/office/drawing/2014/main" id="{F063F71D-7E18-4466-BC5B-6A3158EA1FCD}"/>
              </a:ext>
            </a:extLst>
          </p:cNvPr>
          <p:cNvSpPr>
            <a:spLocks noGrp="1"/>
          </p:cNvSpPr>
          <p:nvPr>
            <p:ph type="title"/>
          </p:nvPr>
        </p:nvSpPr>
        <p:spPr>
          <a:xfrm>
            <a:off x="1" y="586730"/>
            <a:ext cx="9143999" cy="984895"/>
          </a:xfrm>
          <a:solidFill>
            <a:srgbClr val="343433"/>
          </a:solidFill>
        </p:spPr>
        <p:txBody>
          <a:bodyPr/>
          <a:lstStyle/>
          <a:p>
            <a:r>
              <a:rPr lang="en-AU" sz="3000" dirty="0" smtClean="0">
                <a:solidFill>
                  <a:schemeClr val="bg1"/>
                </a:solidFill>
              </a:rPr>
              <a:t>Implementing data governance to ensure accurate, consistent data is available</a:t>
            </a:r>
            <a:endParaRPr lang="en-AU" sz="3000" dirty="0">
              <a:solidFill>
                <a:schemeClr val="bg1"/>
              </a:solidFill>
            </a:endParaRPr>
          </a:p>
        </p:txBody>
      </p:sp>
    </p:spTree>
    <p:extLst>
      <p:ext uri="{BB962C8B-B14F-4D97-AF65-F5344CB8AC3E}">
        <p14:creationId xmlns:p14="http://schemas.microsoft.com/office/powerpoint/2010/main" val="1840579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Data Governance</a:t>
            </a:r>
            <a:endParaRPr lang="en-AU" dirty="0"/>
          </a:p>
        </p:txBody>
      </p:sp>
      <p:graphicFrame>
        <p:nvGraphicFramePr>
          <p:cNvPr id="4" name="Diagram 3"/>
          <p:cNvGraphicFramePr/>
          <p:nvPr>
            <p:extLst>
              <p:ext uri="{D42A27DB-BD31-4B8C-83A1-F6EECF244321}">
                <p14:modId xmlns:p14="http://schemas.microsoft.com/office/powerpoint/2010/main" val="2392729753"/>
              </p:ext>
            </p:extLst>
          </p:nvPr>
        </p:nvGraphicFramePr>
        <p:xfrm>
          <a:off x="1200150" y="647196"/>
          <a:ext cx="6743700" cy="4067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27103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 y="0"/>
            <a:ext cx="9144000" cy="5143500"/>
          </a:xfrm>
          <a:prstGeom prst="rect">
            <a:avLst/>
          </a:prstGeom>
        </p:spPr>
      </p:pic>
      <p:sp>
        <p:nvSpPr>
          <p:cNvPr id="12" name="Title 6">
            <a:extLst>
              <a:ext uri="{FF2B5EF4-FFF2-40B4-BE49-F238E27FC236}">
                <a16:creationId xmlns:a16="http://schemas.microsoft.com/office/drawing/2014/main" id="{F063F71D-7E18-4466-BC5B-6A3158EA1FCD}"/>
              </a:ext>
            </a:extLst>
          </p:cNvPr>
          <p:cNvSpPr>
            <a:spLocks noGrp="1"/>
          </p:cNvSpPr>
          <p:nvPr>
            <p:ph type="title"/>
          </p:nvPr>
        </p:nvSpPr>
        <p:spPr>
          <a:xfrm>
            <a:off x="1" y="586731"/>
            <a:ext cx="9143999" cy="820038"/>
          </a:xfrm>
          <a:solidFill>
            <a:srgbClr val="343433"/>
          </a:solidFill>
        </p:spPr>
        <p:txBody>
          <a:bodyPr/>
          <a:lstStyle/>
          <a:p>
            <a:pPr>
              <a:lnSpc>
                <a:spcPct val="150000"/>
              </a:lnSpc>
            </a:pPr>
            <a:r>
              <a:rPr lang="en-AU" sz="3000" dirty="0" smtClean="0">
                <a:solidFill>
                  <a:schemeClr val="bg1"/>
                </a:solidFill>
              </a:rPr>
              <a:t>So… Where do we start?</a:t>
            </a:r>
            <a:endParaRPr lang="en-AU" sz="3000" dirty="0">
              <a:solidFill>
                <a:schemeClr val="bg1"/>
              </a:solidFill>
            </a:endParaRPr>
          </a:p>
        </p:txBody>
      </p:sp>
    </p:spTree>
    <p:extLst>
      <p:ext uri="{BB962C8B-B14F-4D97-AF65-F5344CB8AC3E}">
        <p14:creationId xmlns:p14="http://schemas.microsoft.com/office/powerpoint/2010/main" val="3100544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9EAB4-A79D-4B70-BEF6-835B2CE46C5B}"/>
              </a:ext>
            </a:extLst>
          </p:cNvPr>
          <p:cNvSpPr>
            <a:spLocks noGrp="1"/>
          </p:cNvSpPr>
          <p:nvPr>
            <p:ph type="ctrTitle"/>
          </p:nvPr>
        </p:nvSpPr>
        <p:spPr>
          <a:xfrm>
            <a:off x="263070" y="258808"/>
            <a:ext cx="8614230" cy="683094"/>
          </a:xfrm>
        </p:spPr>
        <p:txBody>
          <a:bodyPr>
            <a:noAutofit/>
          </a:bodyPr>
          <a:lstStyle/>
          <a:p>
            <a:r>
              <a:rPr lang="en-US" dirty="0" smtClean="0">
                <a:solidFill>
                  <a:schemeClr val="tx1"/>
                </a:solidFill>
              </a:rPr>
              <a:t>An </a:t>
            </a:r>
            <a:r>
              <a:rPr lang="en-US" dirty="0">
                <a:solidFill>
                  <a:schemeClr val="tx1"/>
                </a:solidFill>
              </a:rPr>
              <a:t>advisory &amp; design led approach…</a:t>
            </a:r>
          </a:p>
        </p:txBody>
      </p:sp>
      <p:grpSp>
        <p:nvGrpSpPr>
          <p:cNvPr id="57" name="Group 56">
            <a:extLst>
              <a:ext uri="{FF2B5EF4-FFF2-40B4-BE49-F238E27FC236}">
                <a16:creationId xmlns:a16="http://schemas.microsoft.com/office/drawing/2014/main" id="{F9ED9B4A-1C59-44FB-B16E-5135D5A803B5}"/>
              </a:ext>
            </a:extLst>
          </p:cNvPr>
          <p:cNvGrpSpPr/>
          <p:nvPr/>
        </p:nvGrpSpPr>
        <p:grpSpPr>
          <a:xfrm>
            <a:off x="275772" y="3813388"/>
            <a:ext cx="8592460" cy="406400"/>
            <a:chOff x="275770" y="3813387"/>
            <a:chExt cx="8592460" cy="406400"/>
          </a:xfrm>
        </p:grpSpPr>
        <p:sp>
          <p:nvSpPr>
            <p:cNvPr id="58" name="Rectangle 57">
              <a:extLst>
                <a:ext uri="{FF2B5EF4-FFF2-40B4-BE49-F238E27FC236}">
                  <a16:creationId xmlns:a16="http://schemas.microsoft.com/office/drawing/2014/main" id="{3CC5BD87-36A2-4793-8CEE-299C4E7EDEA3}"/>
                </a:ext>
              </a:extLst>
            </p:cNvPr>
            <p:cNvSpPr/>
            <p:nvPr/>
          </p:nvSpPr>
          <p:spPr>
            <a:xfrm>
              <a:off x="275770" y="3813387"/>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Metro Map – Data Strategy</a:t>
              </a:r>
            </a:p>
          </p:txBody>
        </p:sp>
        <p:sp>
          <p:nvSpPr>
            <p:cNvPr id="59" name="Rectangle 58">
              <a:extLst>
                <a:ext uri="{FF2B5EF4-FFF2-40B4-BE49-F238E27FC236}">
                  <a16:creationId xmlns:a16="http://schemas.microsoft.com/office/drawing/2014/main" id="{D86D37AF-81E9-43B8-8EC2-906688CD7FE6}"/>
                </a:ext>
              </a:extLst>
            </p:cNvPr>
            <p:cNvSpPr/>
            <p:nvPr/>
          </p:nvSpPr>
          <p:spPr>
            <a:xfrm>
              <a:off x="2454123" y="3813387"/>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KPI Libraries</a:t>
              </a:r>
            </a:p>
          </p:txBody>
        </p:sp>
        <p:sp>
          <p:nvSpPr>
            <p:cNvPr id="60" name="Rectangle 59">
              <a:extLst>
                <a:ext uri="{FF2B5EF4-FFF2-40B4-BE49-F238E27FC236}">
                  <a16:creationId xmlns:a16="http://schemas.microsoft.com/office/drawing/2014/main" id="{AEF88FA8-A1EB-4BA6-B121-86B6DD3D19B4}"/>
                </a:ext>
              </a:extLst>
            </p:cNvPr>
            <p:cNvSpPr/>
            <p:nvPr/>
          </p:nvSpPr>
          <p:spPr>
            <a:xfrm>
              <a:off x="4632476" y="3813387"/>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Data Science Accelerator</a:t>
              </a:r>
            </a:p>
          </p:txBody>
        </p:sp>
        <p:sp>
          <p:nvSpPr>
            <p:cNvPr id="61" name="Rectangle 60">
              <a:extLst>
                <a:ext uri="{FF2B5EF4-FFF2-40B4-BE49-F238E27FC236}">
                  <a16:creationId xmlns:a16="http://schemas.microsoft.com/office/drawing/2014/main" id="{20FD5566-3CC4-4883-89FD-CD6B40C75A7B}"/>
                </a:ext>
              </a:extLst>
            </p:cNvPr>
            <p:cNvSpPr/>
            <p:nvPr/>
          </p:nvSpPr>
          <p:spPr>
            <a:xfrm>
              <a:off x="6810830" y="3813387"/>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Reference Architectures</a:t>
              </a:r>
            </a:p>
          </p:txBody>
        </p:sp>
      </p:grpSp>
      <p:grpSp>
        <p:nvGrpSpPr>
          <p:cNvPr id="62" name="Group 61">
            <a:extLst>
              <a:ext uri="{FF2B5EF4-FFF2-40B4-BE49-F238E27FC236}">
                <a16:creationId xmlns:a16="http://schemas.microsoft.com/office/drawing/2014/main" id="{BA73FE7E-22B5-4E14-BDDB-60D0703F90BA}"/>
              </a:ext>
            </a:extLst>
          </p:cNvPr>
          <p:cNvGrpSpPr/>
          <p:nvPr/>
        </p:nvGrpSpPr>
        <p:grpSpPr>
          <a:xfrm>
            <a:off x="1364949" y="4298950"/>
            <a:ext cx="6414106" cy="406400"/>
            <a:chOff x="275770" y="4298950"/>
            <a:chExt cx="6414106" cy="406400"/>
          </a:xfrm>
        </p:grpSpPr>
        <p:sp>
          <p:nvSpPr>
            <p:cNvPr id="63" name="Rectangle 62">
              <a:extLst>
                <a:ext uri="{FF2B5EF4-FFF2-40B4-BE49-F238E27FC236}">
                  <a16:creationId xmlns:a16="http://schemas.microsoft.com/office/drawing/2014/main" id="{5D126163-46A3-4E68-8819-CD2618EC0E5F}"/>
                </a:ext>
              </a:extLst>
            </p:cNvPr>
            <p:cNvSpPr/>
            <p:nvPr/>
          </p:nvSpPr>
          <p:spPr>
            <a:xfrm>
              <a:off x="275770" y="4298950"/>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Change Management</a:t>
              </a:r>
            </a:p>
          </p:txBody>
        </p:sp>
        <p:sp>
          <p:nvSpPr>
            <p:cNvPr id="64" name="Rectangle 63">
              <a:extLst>
                <a:ext uri="{FF2B5EF4-FFF2-40B4-BE49-F238E27FC236}">
                  <a16:creationId xmlns:a16="http://schemas.microsoft.com/office/drawing/2014/main" id="{45A4BABD-7679-4FEE-8B94-D8222DE30EA3}"/>
                </a:ext>
              </a:extLst>
            </p:cNvPr>
            <p:cNvSpPr/>
            <p:nvPr/>
          </p:nvSpPr>
          <p:spPr>
            <a:xfrm>
              <a:off x="2454123" y="4298950"/>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Bot libraries</a:t>
              </a:r>
            </a:p>
          </p:txBody>
        </p:sp>
        <p:sp>
          <p:nvSpPr>
            <p:cNvPr id="65" name="Rectangle 64">
              <a:extLst>
                <a:ext uri="{FF2B5EF4-FFF2-40B4-BE49-F238E27FC236}">
                  <a16:creationId xmlns:a16="http://schemas.microsoft.com/office/drawing/2014/main" id="{D897F7C0-8DE5-466A-96CE-C62A3DF250F4}"/>
                </a:ext>
              </a:extLst>
            </p:cNvPr>
            <p:cNvSpPr/>
            <p:nvPr/>
          </p:nvSpPr>
          <p:spPr>
            <a:xfrm>
              <a:off x="4632476" y="4298950"/>
              <a:ext cx="2057400" cy="406400"/>
            </a:xfrm>
            <a:prstGeom prst="rect">
              <a:avLst/>
            </a:prstGeom>
            <a:solidFill>
              <a:schemeClr val="accent6"/>
            </a:solidFill>
            <a:ln w="25400" cap="flat" cmpd="sng" algn="ctr">
              <a:noFill/>
              <a:prstDash val="solid"/>
            </a:ln>
            <a:effectLst/>
          </p:spPr>
          <p:txBody>
            <a:bodyPr lIns="0" tIns="0" rIns="0" bIns="0" rtlCol="0" anchor="ctr">
              <a:noAutofit/>
            </a:bodyPr>
            <a:lstStyle/>
            <a:p>
              <a:pPr marL="4329" marR="4329" algn="ctr" defTabSz="685749">
                <a:lnSpc>
                  <a:spcPts val="955"/>
                </a:lnSpc>
                <a:spcBef>
                  <a:spcPts val="31"/>
                </a:spcBef>
                <a:defRPr/>
              </a:pPr>
              <a:r>
                <a:rPr lang="en-US" sz="1050" b="1" kern="0" spc="4" dirty="0">
                  <a:latin typeface="Arial" panose="020B0604020202020204"/>
                  <a:cs typeface="Microsoft New Tai Lue" panose="020B0502040204020203" pitchFamily="34" charset="0"/>
                </a:rPr>
                <a:t>Pre-curated solutions</a:t>
              </a:r>
            </a:p>
          </p:txBody>
        </p:sp>
      </p:grpSp>
      <p:sp>
        <p:nvSpPr>
          <p:cNvPr id="66" name="Rectangle: Rounded Corners 65">
            <a:extLst>
              <a:ext uri="{FF2B5EF4-FFF2-40B4-BE49-F238E27FC236}">
                <a16:creationId xmlns:a16="http://schemas.microsoft.com/office/drawing/2014/main" id="{A4E5A69A-0DB4-43E0-A4B5-BA39A1929309}"/>
              </a:ext>
            </a:extLst>
          </p:cNvPr>
          <p:cNvSpPr/>
          <p:nvPr/>
        </p:nvSpPr>
        <p:spPr>
          <a:xfrm>
            <a:off x="275771" y="697899"/>
            <a:ext cx="2818065" cy="292703"/>
          </a:xfrm>
          <a:prstGeom prst="roundRect">
            <a:avLst>
              <a:gd name="adj" fmla="val 50000"/>
            </a:avLst>
          </a:prstGeom>
          <a:solidFill>
            <a:schemeClr val="accent1"/>
          </a:solidFill>
          <a:ln w="6350" cap="flat" cmpd="sng" algn="ctr">
            <a:noFill/>
            <a:prstDash val="solid"/>
            <a:miter lim="800000"/>
          </a:ln>
          <a:effectLst/>
        </p:spPr>
        <p:txBody>
          <a:bodyPr wrap="none" lIns="0" rIns="0" anchor="ctr">
            <a:noAutofit/>
          </a:bodyPr>
          <a:lstStyle/>
          <a:p>
            <a:pPr algn="ctr" defTabSz="685732">
              <a:defRPr/>
            </a:pPr>
            <a:r>
              <a:rPr lang="en-US" sz="1200" b="1" kern="0" dirty="0">
                <a:latin typeface="Arial" panose="020B0604020202020204"/>
                <a:cs typeface="Microsoft New Tai Lue" panose="020B0502040204020203" pitchFamily="34" charset="0"/>
              </a:rPr>
              <a:t>Define - 1</a:t>
            </a:r>
          </a:p>
        </p:txBody>
      </p:sp>
      <p:sp>
        <p:nvSpPr>
          <p:cNvPr id="68" name="Rectangle 67">
            <a:extLst>
              <a:ext uri="{FF2B5EF4-FFF2-40B4-BE49-F238E27FC236}">
                <a16:creationId xmlns:a16="http://schemas.microsoft.com/office/drawing/2014/main" id="{64B6A39D-DF8A-46FE-8323-EE848ABBD047}"/>
              </a:ext>
            </a:extLst>
          </p:cNvPr>
          <p:cNvSpPr/>
          <p:nvPr/>
        </p:nvSpPr>
        <p:spPr>
          <a:xfrm>
            <a:off x="1416672" y="1152691"/>
            <a:ext cx="1677162" cy="707886"/>
          </a:xfrm>
          <a:prstGeom prst="rect">
            <a:avLst/>
          </a:prstGeom>
        </p:spPr>
        <p:txBody>
          <a:bodyPr wrap="square">
            <a:noAutofit/>
          </a:bodyPr>
          <a:lstStyle/>
          <a:p>
            <a:pPr defTabSz="457178">
              <a:spcBef>
                <a:spcPts val="200"/>
              </a:spcBef>
              <a:spcAft>
                <a:spcPts val="200"/>
              </a:spcAft>
            </a:pPr>
            <a:r>
              <a:rPr lang="en-US" sz="1000" b="1" dirty="0">
                <a:latin typeface="Arial" panose="020B0604020202020204"/>
              </a:rPr>
              <a:t>AI &amp; Analytics Workshops to explore business challenges and identify the scope</a:t>
            </a:r>
          </a:p>
        </p:txBody>
      </p:sp>
      <p:sp>
        <p:nvSpPr>
          <p:cNvPr id="69" name="Rectangle: Rounded Corners 68">
            <a:extLst>
              <a:ext uri="{FF2B5EF4-FFF2-40B4-BE49-F238E27FC236}">
                <a16:creationId xmlns:a16="http://schemas.microsoft.com/office/drawing/2014/main" id="{A183AC05-17EE-4E19-A3FB-EC9B5B7BA92C}"/>
              </a:ext>
            </a:extLst>
          </p:cNvPr>
          <p:cNvSpPr/>
          <p:nvPr/>
        </p:nvSpPr>
        <p:spPr>
          <a:xfrm>
            <a:off x="3166295" y="697899"/>
            <a:ext cx="2818065" cy="292703"/>
          </a:xfrm>
          <a:prstGeom prst="roundRect">
            <a:avLst>
              <a:gd name="adj" fmla="val 50000"/>
            </a:avLst>
          </a:prstGeom>
          <a:solidFill>
            <a:schemeClr val="accent3"/>
          </a:solidFill>
          <a:ln w="6350" cap="flat" cmpd="sng" algn="ctr">
            <a:noFill/>
            <a:prstDash val="solid"/>
            <a:miter lim="800000"/>
          </a:ln>
          <a:effectLst/>
        </p:spPr>
        <p:txBody>
          <a:bodyPr wrap="none" lIns="0" rIns="0" anchor="ctr">
            <a:noAutofit/>
          </a:bodyPr>
          <a:lstStyle/>
          <a:p>
            <a:pPr algn="ctr" defTabSz="685732">
              <a:defRPr/>
            </a:pPr>
            <a:r>
              <a:rPr lang="en-US" sz="1200" b="1" kern="0" dirty="0">
                <a:latin typeface="Arial" panose="020B0604020202020204"/>
                <a:cs typeface="Microsoft New Tai Lue" panose="020B0502040204020203" pitchFamily="34" charset="0"/>
              </a:rPr>
              <a:t>Analyze - 2</a:t>
            </a:r>
          </a:p>
        </p:txBody>
      </p:sp>
      <p:sp>
        <p:nvSpPr>
          <p:cNvPr id="71" name="Rectangle 70">
            <a:extLst>
              <a:ext uri="{FF2B5EF4-FFF2-40B4-BE49-F238E27FC236}">
                <a16:creationId xmlns:a16="http://schemas.microsoft.com/office/drawing/2014/main" id="{4AD97460-F0B3-4A86-8B82-A12972622EAE}"/>
              </a:ext>
            </a:extLst>
          </p:cNvPr>
          <p:cNvSpPr/>
          <p:nvPr/>
        </p:nvSpPr>
        <p:spPr>
          <a:xfrm>
            <a:off x="4462839" y="1126119"/>
            <a:ext cx="1472833" cy="861774"/>
          </a:xfrm>
          <a:prstGeom prst="rect">
            <a:avLst/>
          </a:prstGeom>
        </p:spPr>
        <p:txBody>
          <a:bodyPr wrap="square">
            <a:noAutofit/>
          </a:bodyPr>
          <a:lstStyle/>
          <a:p>
            <a:pPr defTabSz="457178">
              <a:spcBef>
                <a:spcPts val="200"/>
              </a:spcBef>
              <a:spcAft>
                <a:spcPts val="200"/>
              </a:spcAft>
            </a:pPr>
            <a:r>
              <a:rPr lang="en-US" sz="1000" b="1" dirty="0">
                <a:latin typeface="Arial" panose="020B0604020202020204"/>
              </a:rPr>
              <a:t>Identified use cases mapping on a matrix to determine the perceived business value and complexity</a:t>
            </a:r>
          </a:p>
        </p:txBody>
      </p:sp>
      <p:sp>
        <p:nvSpPr>
          <p:cNvPr id="72" name="Rectangle: Rounded Corners 71">
            <a:extLst>
              <a:ext uri="{FF2B5EF4-FFF2-40B4-BE49-F238E27FC236}">
                <a16:creationId xmlns:a16="http://schemas.microsoft.com/office/drawing/2014/main" id="{A04DB145-82FC-480B-BF8A-20E4659B3B20}"/>
              </a:ext>
            </a:extLst>
          </p:cNvPr>
          <p:cNvSpPr/>
          <p:nvPr/>
        </p:nvSpPr>
        <p:spPr>
          <a:xfrm>
            <a:off x="6056819" y="697899"/>
            <a:ext cx="2818065" cy="292703"/>
          </a:xfrm>
          <a:prstGeom prst="roundRect">
            <a:avLst>
              <a:gd name="adj" fmla="val 50000"/>
            </a:avLst>
          </a:prstGeom>
          <a:solidFill>
            <a:schemeClr val="accent4"/>
          </a:solidFill>
          <a:ln w="6350" cap="flat" cmpd="sng" algn="ctr">
            <a:noFill/>
            <a:prstDash val="solid"/>
            <a:miter lim="800000"/>
          </a:ln>
          <a:effectLst/>
        </p:spPr>
        <p:txBody>
          <a:bodyPr wrap="none" lIns="0" rIns="0" anchor="ctr">
            <a:noAutofit/>
          </a:bodyPr>
          <a:lstStyle/>
          <a:p>
            <a:pPr algn="ctr" defTabSz="685732">
              <a:defRPr/>
            </a:pPr>
            <a:r>
              <a:rPr lang="en-US" sz="1200" b="1" kern="0" dirty="0">
                <a:latin typeface="Arial" panose="020B0604020202020204"/>
                <a:cs typeface="Microsoft New Tai Lue" panose="020B0502040204020203" pitchFamily="34" charset="0"/>
              </a:rPr>
              <a:t>Envision - 3</a:t>
            </a:r>
          </a:p>
        </p:txBody>
      </p:sp>
      <p:sp>
        <p:nvSpPr>
          <p:cNvPr id="74" name="Rectangle 73">
            <a:extLst>
              <a:ext uri="{FF2B5EF4-FFF2-40B4-BE49-F238E27FC236}">
                <a16:creationId xmlns:a16="http://schemas.microsoft.com/office/drawing/2014/main" id="{8B03F0DF-4AD5-40B5-8F1A-DCA1A99971FB}"/>
              </a:ext>
            </a:extLst>
          </p:cNvPr>
          <p:cNvSpPr/>
          <p:nvPr/>
        </p:nvSpPr>
        <p:spPr>
          <a:xfrm>
            <a:off x="7197721" y="998804"/>
            <a:ext cx="1677162" cy="1015663"/>
          </a:xfrm>
          <a:prstGeom prst="rect">
            <a:avLst/>
          </a:prstGeom>
        </p:spPr>
        <p:txBody>
          <a:bodyPr wrap="square">
            <a:noAutofit/>
          </a:bodyPr>
          <a:lstStyle/>
          <a:p>
            <a:pPr defTabSz="457178">
              <a:spcBef>
                <a:spcPts val="200"/>
              </a:spcBef>
              <a:spcAft>
                <a:spcPts val="200"/>
              </a:spcAft>
            </a:pPr>
            <a:r>
              <a:rPr lang="en-US" sz="1000" b="1" dirty="0">
                <a:latin typeface="Arial" panose="020B0604020202020204"/>
              </a:rPr>
              <a:t>Target state requirements are prioritized based on </a:t>
            </a:r>
            <a:r>
              <a:rPr lang="en-US" sz="1000" b="1" dirty="0" smtClean="0">
                <a:latin typeface="Arial" panose="020B0604020202020204"/>
              </a:rPr>
              <a:t>specific </a:t>
            </a:r>
            <a:r>
              <a:rPr lang="en-US" sz="1000" b="1" dirty="0">
                <a:latin typeface="Arial" panose="020B0604020202020204"/>
              </a:rPr>
              <a:t>business needs and intelligent enterprise strategy</a:t>
            </a:r>
          </a:p>
        </p:txBody>
      </p:sp>
      <p:sp>
        <p:nvSpPr>
          <p:cNvPr id="75" name="Rectangle: Rounded Corners 74">
            <a:extLst>
              <a:ext uri="{FF2B5EF4-FFF2-40B4-BE49-F238E27FC236}">
                <a16:creationId xmlns:a16="http://schemas.microsoft.com/office/drawing/2014/main" id="{A9D7542C-4285-428D-8A9B-0EA9D5EA00D2}"/>
              </a:ext>
            </a:extLst>
          </p:cNvPr>
          <p:cNvSpPr/>
          <p:nvPr/>
        </p:nvSpPr>
        <p:spPr>
          <a:xfrm>
            <a:off x="869949" y="2310799"/>
            <a:ext cx="7404102" cy="292703"/>
          </a:xfrm>
          <a:prstGeom prst="roundRect">
            <a:avLst>
              <a:gd name="adj" fmla="val 50000"/>
            </a:avLst>
          </a:prstGeom>
          <a:solidFill>
            <a:schemeClr val="bg2"/>
          </a:solidFill>
          <a:ln w="6350" cap="flat" cmpd="sng" algn="ctr">
            <a:noFill/>
            <a:prstDash val="solid"/>
            <a:miter lim="800000"/>
          </a:ln>
          <a:effectLst/>
        </p:spPr>
        <p:txBody>
          <a:bodyPr wrap="none" lIns="0" rIns="0" anchor="ctr">
            <a:noAutofit/>
          </a:bodyPr>
          <a:lstStyle/>
          <a:p>
            <a:pPr algn="ctr" defTabSz="685732">
              <a:defRPr/>
            </a:pPr>
            <a:r>
              <a:rPr lang="en-US" sz="1200" b="1" kern="0" dirty="0">
                <a:latin typeface="Arial" panose="020B0604020202020204"/>
                <a:cs typeface="Microsoft New Tai Lue" panose="020B0502040204020203" pitchFamily="34" charset="0"/>
              </a:rPr>
              <a:t>Operationalize - 4</a:t>
            </a:r>
          </a:p>
        </p:txBody>
      </p:sp>
      <p:sp>
        <p:nvSpPr>
          <p:cNvPr id="76" name="Rectangle 75">
            <a:extLst>
              <a:ext uri="{FF2B5EF4-FFF2-40B4-BE49-F238E27FC236}">
                <a16:creationId xmlns:a16="http://schemas.microsoft.com/office/drawing/2014/main" id="{82640C59-2823-4156-911B-7F971AB8F8AB}"/>
              </a:ext>
            </a:extLst>
          </p:cNvPr>
          <p:cNvSpPr/>
          <p:nvPr/>
        </p:nvSpPr>
        <p:spPr>
          <a:xfrm>
            <a:off x="2544806" y="2787719"/>
            <a:ext cx="1677162" cy="707886"/>
          </a:xfrm>
          <a:prstGeom prst="rect">
            <a:avLst/>
          </a:prstGeom>
        </p:spPr>
        <p:txBody>
          <a:bodyPr wrap="square">
            <a:noAutofit/>
          </a:bodyPr>
          <a:lstStyle/>
          <a:p>
            <a:pPr defTabSz="457178">
              <a:spcBef>
                <a:spcPts val="200"/>
              </a:spcBef>
              <a:spcAft>
                <a:spcPts val="200"/>
              </a:spcAft>
            </a:pPr>
            <a:r>
              <a:rPr lang="en-US" sz="1000" b="1" dirty="0">
                <a:latin typeface="Arial" panose="020B0604020202020204"/>
              </a:rPr>
              <a:t>The use case matrix is used to define the transformation roadmap to operationalize</a:t>
            </a:r>
          </a:p>
        </p:txBody>
      </p:sp>
      <p:sp>
        <p:nvSpPr>
          <p:cNvPr id="79" name="Rectangle 78">
            <a:extLst>
              <a:ext uri="{FF2B5EF4-FFF2-40B4-BE49-F238E27FC236}">
                <a16:creationId xmlns:a16="http://schemas.microsoft.com/office/drawing/2014/main" id="{2117E837-F8E7-4038-8E70-16F6F9FCBA4F}"/>
              </a:ext>
            </a:extLst>
          </p:cNvPr>
          <p:cNvSpPr/>
          <p:nvPr/>
        </p:nvSpPr>
        <p:spPr>
          <a:xfrm>
            <a:off x="4571999" y="2787719"/>
            <a:ext cx="1597137" cy="707886"/>
          </a:xfrm>
          <a:prstGeom prst="rect">
            <a:avLst/>
          </a:prstGeom>
        </p:spPr>
        <p:txBody>
          <a:bodyPr wrap="square">
            <a:noAutofit/>
          </a:bodyPr>
          <a:lstStyle/>
          <a:p>
            <a:pPr algn="r" defTabSz="457178">
              <a:spcBef>
                <a:spcPts val="200"/>
              </a:spcBef>
              <a:spcAft>
                <a:spcPts val="200"/>
              </a:spcAft>
            </a:pPr>
            <a:r>
              <a:rPr lang="en-US" sz="1000" b="1" dirty="0">
                <a:latin typeface="Arial" panose="020B0604020202020204"/>
              </a:rPr>
              <a:t>Use cases are operationalized through Hypothesis, Build and DevOps</a:t>
            </a:r>
          </a:p>
        </p:txBody>
      </p:sp>
      <p:cxnSp>
        <p:nvCxnSpPr>
          <p:cNvPr id="87" name="Straight Connector 86">
            <a:extLst>
              <a:ext uri="{FF2B5EF4-FFF2-40B4-BE49-F238E27FC236}">
                <a16:creationId xmlns:a16="http://schemas.microsoft.com/office/drawing/2014/main" id="{039685EA-82AE-482B-9CF3-67A128AFFCB3}"/>
              </a:ext>
            </a:extLst>
          </p:cNvPr>
          <p:cNvCxnSpPr>
            <a:cxnSpLocks/>
          </p:cNvCxnSpPr>
          <p:nvPr/>
        </p:nvCxnSpPr>
        <p:spPr>
          <a:xfrm>
            <a:off x="4572000" y="2603500"/>
            <a:ext cx="0" cy="1076324"/>
          </a:xfrm>
          <a:prstGeom prst="line">
            <a:avLst/>
          </a:prstGeom>
          <a:ln w="9525">
            <a:solidFill>
              <a:schemeClr val="bg1"/>
            </a:solidFill>
            <a:prstDash val="dash"/>
            <a:headEnd type="none" w="med" len="med"/>
            <a:tailEnd type="oval" w="sm" len="sm"/>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B2B8CA68-51CD-4DCE-9968-221817DCC79E}"/>
              </a:ext>
            </a:extLst>
          </p:cNvPr>
          <p:cNvCxnSpPr>
            <a:cxnSpLocks/>
          </p:cNvCxnSpPr>
          <p:nvPr/>
        </p:nvCxnSpPr>
        <p:spPr>
          <a:xfrm>
            <a:off x="6019283" y="876329"/>
            <a:ext cx="0" cy="1327123"/>
          </a:xfrm>
          <a:prstGeom prst="line">
            <a:avLst/>
          </a:prstGeom>
          <a:ln w="9525">
            <a:solidFill>
              <a:schemeClr val="bg1"/>
            </a:solidFill>
            <a:prstDash val="dash"/>
            <a:headEnd type="none" w="med" len="med"/>
            <a:tailEnd type="oval" w="sm" len="sm"/>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94C5CA98-57A0-40F1-89EA-4D2DE19DA55F}"/>
              </a:ext>
            </a:extLst>
          </p:cNvPr>
          <p:cNvCxnSpPr>
            <a:cxnSpLocks/>
          </p:cNvCxnSpPr>
          <p:nvPr/>
        </p:nvCxnSpPr>
        <p:spPr>
          <a:xfrm>
            <a:off x="3127447" y="876329"/>
            <a:ext cx="0" cy="1327123"/>
          </a:xfrm>
          <a:prstGeom prst="line">
            <a:avLst/>
          </a:prstGeom>
          <a:ln w="9525">
            <a:solidFill>
              <a:schemeClr val="bg1"/>
            </a:solidFill>
            <a:prstDash val="dash"/>
            <a:headEnd type="none" w="med" len="med"/>
            <a:tailEnd type="oval" w="sm" len="sm"/>
          </a:ln>
          <a:effectLst/>
        </p:spPr>
        <p:style>
          <a:lnRef idx="2">
            <a:schemeClr val="accent1"/>
          </a:lnRef>
          <a:fillRef idx="0">
            <a:schemeClr val="accent1"/>
          </a:fillRef>
          <a:effectRef idx="1">
            <a:schemeClr val="accent1"/>
          </a:effectRef>
          <a:fontRef idx="minor">
            <a:schemeClr val="tx1"/>
          </a:fontRef>
        </p:style>
      </p:cxnSp>
      <p:pic>
        <p:nvPicPr>
          <p:cNvPr id="34" name="Picture 33">
            <a:extLst>
              <a:ext uri="{FF2B5EF4-FFF2-40B4-BE49-F238E27FC236}">
                <a16:creationId xmlns:a16="http://schemas.microsoft.com/office/drawing/2014/main" id="{834982B9-6A44-442E-A054-CD7BB038B06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1280"/>
          <a:stretch/>
        </p:blipFill>
        <p:spPr>
          <a:xfrm>
            <a:off x="357662" y="1102438"/>
            <a:ext cx="1020163" cy="843664"/>
          </a:xfrm>
          <a:prstGeom prst="rect">
            <a:avLst/>
          </a:prstGeom>
          <a:ln>
            <a:solidFill>
              <a:schemeClr val="accent1"/>
            </a:solidFill>
          </a:ln>
        </p:spPr>
      </p:pic>
      <p:pic>
        <p:nvPicPr>
          <p:cNvPr id="35" name="Picture 34">
            <a:extLst>
              <a:ext uri="{FF2B5EF4-FFF2-40B4-BE49-F238E27FC236}">
                <a16:creationId xmlns:a16="http://schemas.microsoft.com/office/drawing/2014/main" id="{2169EBE8-1228-6845-A69F-1ABAF7872CE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130" b="5436"/>
          <a:stretch/>
        </p:blipFill>
        <p:spPr>
          <a:xfrm>
            <a:off x="3320219" y="1137043"/>
            <a:ext cx="1059010" cy="783439"/>
          </a:xfrm>
          <a:prstGeom prst="rect">
            <a:avLst/>
          </a:prstGeom>
          <a:ln w="38100" cap="sq" cmpd="thickThin">
            <a:solidFill>
              <a:schemeClr val="accent3"/>
            </a:solidFill>
            <a:prstDash val="solid"/>
            <a:miter lim="800000"/>
          </a:ln>
          <a:effectLst>
            <a:innerShdw blurRad="76200">
              <a:srgbClr val="000000"/>
            </a:innerShdw>
          </a:effectLst>
        </p:spPr>
      </p:pic>
      <p:pic>
        <p:nvPicPr>
          <p:cNvPr id="37" name="Picture 36">
            <a:extLst>
              <a:ext uri="{FF2B5EF4-FFF2-40B4-BE49-F238E27FC236}">
                <a16:creationId xmlns:a16="http://schemas.microsoft.com/office/drawing/2014/main" id="{834982B9-6A44-442E-A054-CD7BB038B0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3946" y="1124073"/>
            <a:ext cx="1020163" cy="765122"/>
          </a:xfrm>
          <a:prstGeom prst="rect">
            <a:avLst/>
          </a:prstGeom>
          <a:ln>
            <a:solidFill>
              <a:schemeClr val="bg1">
                <a:lumMod val="75000"/>
              </a:schemeClr>
            </a:solidFill>
          </a:ln>
        </p:spPr>
      </p:pic>
      <p:pic>
        <p:nvPicPr>
          <p:cNvPr id="38" name="Picture 37">
            <a:extLst>
              <a:ext uri="{FF2B5EF4-FFF2-40B4-BE49-F238E27FC236}">
                <a16:creationId xmlns:a16="http://schemas.microsoft.com/office/drawing/2014/main" id="{834982B9-6A44-442E-A054-CD7BB038B0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33962" y="2798213"/>
            <a:ext cx="1020163" cy="765122"/>
          </a:xfrm>
          <a:prstGeom prst="rect">
            <a:avLst/>
          </a:prstGeom>
          <a:ln>
            <a:solidFill>
              <a:schemeClr val="bg2"/>
            </a:solidFill>
          </a:ln>
        </p:spPr>
      </p:pic>
      <p:pic>
        <p:nvPicPr>
          <p:cNvPr id="39" name="Picture 38">
            <a:extLst>
              <a:ext uri="{FF2B5EF4-FFF2-40B4-BE49-F238E27FC236}">
                <a16:creationId xmlns:a16="http://schemas.microsoft.com/office/drawing/2014/main" id="{08063DBE-6C30-42DB-A7E7-D2AA384112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44318" y="2805751"/>
            <a:ext cx="1133027" cy="654474"/>
          </a:xfrm>
          <a:prstGeom prst="rect">
            <a:avLst/>
          </a:prstGeom>
          <a:ln>
            <a:solidFill>
              <a:schemeClr val="bg2"/>
            </a:solidFill>
          </a:ln>
        </p:spPr>
      </p:pic>
    </p:spTree>
    <p:extLst>
      <p:ext uri="{BB962C8B-B14F-4D97-AF65-F5344CB8AC3E}">
        <p14:creationId xmlns:p14="http://schemas.microsoft.com/office/powerpoint/2010/main" val="20002460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90254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075AA42-D13D-4602-ACC8-7AC179385ECC}"/>
              </a:ext>
            </a:extLst>
          </p:cNvPr>
          <p:cNvSpPr>
            <a:spLocks noGrp="1"/>
          </p:cNvSpPr>
          <p:nvPr>
            <p:ph idx="1"/>
          </p:nvPr>
        </p:nvSpPr>
        <p:spPr/>
        <p:txBody>
          <a:bodyPr/>
          <a:lstStyle/>
          <a:p>
            <a:r>
              <a:rPr lang="en-AU" sz="2400" dirty="0"/>
              <a:t>Imagine what could be possible if we all learn to unlearn.</a:t>
            </a:r>
          </a:p>
        </p:txBody>
      </p:sp>
    </p:spTree>
    <p:extLst>
      <p:ext uri="{BB962C8B-B14F-4D97-AF65-F5344CB8AC3E}">
        <p14:creationId xmlns:p14="http://schemas.microsoft.com/office/powerpoint/2010/main" val="36353332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E997EE-C21F-4531-959E-4A54DE084197}"/>
              </a:ext>
            </a:extLst>
          </p:cNvPr>
          <p:cNvSpPr>
            <a:spLocks noGrp="1"/>
          </p:cNvSpPr>
          <p:nvPr>
            <p:ph type="body" sz="quarter" idx="10"/>
          </p:nvPr>
        </p:nvSpPr>
        <p:spPr/>
        <p:txBody>
          <a:bodyPr/>
          <a:lstStyle/>
          <a:p>
            <a:r>
              <a:rPr lang="en-AU" sz="3200" dirty="0" smtClean="0"/>
              <a:t>Questions?</a:t>
            </a:r>
            <a:endParaRPr lang="en-AU" sz="3200" dirty="0"/>
          </a:p>
        </p:txBody>
      </p:sp>
    </p:spTree>
    <p:extLst>
      <p:ext uri="{BB962C8B-B14F-4D97-AF65-F5344CB8AC3E}">
        <p14:creationId xmlns:p14="http://schemas.microsoft.com/office/powerpoint/2010/main" val="29338782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1C3572A-5D97-4C60-AF84-B037BA4954C6}"/>
              </a:ext>
            </a:extLst>
          </p:cNvPr>
          <p:cNvSpPr>
            <a:spLocks noGrp="1"/>
          </p:cNvSpPr>
          <p:nvPr>
            <p:ph type="title"/>
          </p:nvPr>
        </p:nvSpPr>
        <p:spPr>
          <a:xfrm>
            <a:off x="605912" y="584654"/>
            <a:ext cx="6330294" cy="642938"/>
          </a:xfrm>
          <a:prstGeom prst="rect">
            <a:avLst/>
          </a:prstGeom>
        </p:spPr>
        <p:txBody>
          <a:bodyPr>
            <a:normAutofit fontScale="90000"/>
          </a:bodyPr>
          <a:lstStyle/>
          <a:p>
            <a:r>
              <a:rPr lang="en-US" sz="3675" dirty="0">
                <a:solidFill>
                  <a:srgbClr val="446CA9"/>
                </a:solidFill>
              </a:rPr>
              <a:t>Session Evaluations</a:t>
            </a:r>
            <a:r>
              <a:rPr lang="en-US" sz="2100" dirty="0"/>
              <a:t/>
            </a:r>
            <a:br>
              <a:rPr lang="en-US" sz="2100" dirty="0"/>
            </a:br>
            <a:r>
              <a:rPr lang="en-US" sz="1650" dirty="0"/>
              <a:t>There are two ways to access the session and presenter evaluations:</a:t>
            </a:r>
            <a:endParaRPr lang="en-US" sz="1500" dirty="0"/>
          </a:p>
        </p:txBody>
      </p:sp>
      <p:sp>
        <p:nvSpPr>
          <p:cNvPr id="7" name="Text Placeholder 2">
            <a:extLst>
              <a:ext uri="{FF2B5EF4-FFF2-40B4-BE49-F238E27FC236}">
                <a16:creationId xmlns:a16="http://schemas.microsoft.com/office/drawing/2014/main" id="{2F63C15D-E3EE-4E83-86CD-78BCCCB0CF70}"/>
              </a:ext>
            </a:extLst>
          </p:cNvPr>
          <p:cNvSpPr txBox="1">
            <a:spLocks/>
          </p:cNvSpPr>
          <p:nvPr/>
        </p:nvSpPr>
        <p:spPr>
          <a:xfrm>
            <a:off x="750290" y="1762627"/>
            <a:ext cx="5660858" cy="23461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3000" dirty="0">
                <a:solidFill>
                  <a:srgbClr val="446CA9"/>
                </a:solidFill>
              </a:rPr>
              <a:t>1</a:t>
            </a:r>
          </a:p>
          <a:p>
            <a:pPr marL="0" indent="0" fontAlgn="auto">
              <a:spcAft>
                <a:spcPts val="0"/>
              </a:spcAft>
              <a:buNone/>
            </a:pPr>
            <a:endParaRPr lang="en-US" sz="3000" dirty="0">
              <a:solidFill>
                <a:prstClr val="black">
                  <a:lumMod val="50000"/>
                  <a:lumOff val="50000"/>
                </a:prstClr>
              </a:solidFill>
            </a:endParaRPr>
          </a:p>
          <a:p>
            <a:pPr marL="0" indent="0" fontAlgn="auto">
              <a:spcAft>
                <a:spcPts val="0"/>
              </a:spcAft>
              <a:buNone/>
            </a:pPr>
            <a:r>
              <a:rPr lang="en-US" sz="3000" dirty="0">
                <a:solidFill>
                  <a:srgbClr val="446CA9"/>
                </a:solidFill>
              </a:rPr>
              <a:t>2</a:t>
            </a:r>
          </a:p>
        </p:txBody>
      </p:sp>
      <p:sp>
        <p:nvSpPr>
          <p:cNvPr id="8" name="TextBox 7">
            <a:extLst>
              <a:ext uri="{FF2B5EF4-FFF2-40B4-BE49-F238E27FC236}">
                <a16:creationId xmlns:a16="http://schemas.microsoft.com/office/drawing/2014/main" id="{CCF91365-6C53-48AF-BE7B-1DA5CEB68C5A}"/>
              </a:ext>
            </a:extLst>
          </p:cNvPr>
          <p:cNvSpPr txBox="1"/>
          <p:nvPr/>
        </p:nvSpPr>
        <p:spPr>
          <a:xfrm>
            <a:off x="1150868" y="2864837"/>
            <a:ext cx="2217974" cy="1200329"/>
          </a:xfrm>
          <a:prstGeom prst="rect">
            <a:avLst/>
          </a:prstGeom>
          <a:noFill/>
        </p:spPr>
        <p:txBody>
          <a:bodyPr wrap="square" rtlCol="0">
            <a:spAutoFit/>
          </a:bodyPr>
          <a:lstStyle/>
          <a:p>
            <a:pPr defTabSz="685800" fontAlgn="auto">
              <a:spcBef>
                <a:spcPts val="0"/>
              </a:spcBef>
              <a:spcAft>
                <a:spcPts val="0"/>
              </a:spcAft>
            </a:pPr>
            <a:r>
              <a:rPr lang="en-US" sz="1200" dirty="0">
                <a:solidFill>
                  <a:prstClr val="black"/>
                </a:solidFill>
                <a:latin typeface="Calibri" panose="020F0502020204030204"/>
                <a:ea typeface="+mn-ea"/>
                <a:cs typeface="+mn-cs"/>
              </a:rPr>
              <a:t>From the mobile app, click on the session you want from the schedule &gt; then scroll down or click on the associated resources &gt; and the </a:t>
            </a:r>
            <a:r>
              <a:rPr lang="en-US" sz="1200" dirty="0">
                <a:solidFill>
                  <a:srgbClr val="446CA9"/>
                </a:solidFill>
                <a:latin typeface="Calibri" panose="020F0502020204030204"/>
                <a:ea typeface="+mn-ea"/>
                <a:cs typeface="+mn-cs"/>
              </a:rPr>
              <a:t>evaluation </a:t>
            </a:r>
            <a:r>
              <a:rPr lang="en-US" sz="1200" dirty="0">
                <a:solidFill>
                  <a:prstClr val="black"/>
                </a:solidFill>
                <a:latin typeface="Calibri" panose="020F0502020204030204"/>
                <a:ea typeface="+mn-ea"/>
                <a:cs typeface="+mn-cs"/>
              </a:rPr>
              <a:t>will pop up in the list</a:t>
            </a:r>
          </a:p>
        </p:txBody>
      </p:sp>
      <p:sp>
        <p:nvSpPr>
          <p:cNvPr id="9" name="TextBox 8">
            <a:extLst>
              <a:ext uri="{FF2B5EF4-FFF2-40B4-BE49-F238E27FC236}">
                <a16:creationId xmlns:a16="http://schemas.microsoft.com/office/drawing/2014/main" id="{E1D61638-B65C-4C26-A662-6F5DAE2846BE}"/>
              </a:ext>
            </a:extLst>
          </p:cNvPr>
          <p:cNvSpPr txBox="1"/>
          <p:nvPr/>
        </p:nvSpPr>
        <p:spPr>
          <a:xfrm>
            <a:off x="1167595" y="1939448"/>
            <a:ext cx="2078810" cy="461665"/>
          </a:xfrm>
          <a:prstGeom prst="rect">
            <a:avLst/>
          </a:prstGeom>
          <a:noFill/>
        </p:spPr>
        <p:txBody>
          <a:bodyPr wrap="square" rtlCol="0">
            <a:spAutoFit/>
          </a:bodyPr>
          <a:lstStyle/>
          <a:p>
            <a:pPr defTabSz="685800" fontAlgn="auto">
              <a:spcBef>
                <a:spcPts val="0"/>
              </a:spcBef>
              <a:spcAft>
                <a:spcPts val="0"/>
              </a:spcAft>
            </a:pPr>
            <a:r>
              <a:rPr lang="en-US" sz="1200" dirty="0">
                <a:solidFill>
                  <a:prstClr val="black"/>
                </a:solidFill>
                <a:latin typeface="Calibri" panose="020F0502020204030204"/>
                <a:ea typeface="+mn-ea"/>
                <a:cs typeface="+mn-cs"/>
              </a:rPr>
              <a:t>In the online agenda, click on the “</a:t>
            </a:r>
            <a:r>
              <a:rPr lang="en-US" sz="1200" dirty="0">
                <a:solidFill>
                  <a:srgbClr val="446CA9"/>
                </a:solidFill>
                <a:latin typeface="Calibri" panose="020F0502020204030204"/>
                <a:ea typeface="+mn-ea"/>
                <a:cs typeface="+mn-cs"/>
              </a:rPr>
              <a:t>Evaluate Session</a:t>
            </a:r>
            <a:r>
              <a:rPr lang="en-US" sz="1200" dirty="0">
                <a:solidFill>
                  <a:prstClr val="black"/>
                </a:solidFill>
                <a:latin typeface="Calibri" panose="020F0502020204030204"/>
                <a:ea typeface="+mn-ea"/>
                <a:cs typeface="+mn-cs"/>
              </a:rPr>
              <a:t>” link</a:t>
            </a:r>
          </a:p>
        </p:txBody>
      </p:sp>
      <p:pic>
        <p:nvPicPr>
          <p:cNvPr id="10" name="Picture 9">
            <a:extLst>
              <a:ext uri="{FF2B5EF4-FFF2-40B4-BE49-F238E27FC236}">
                <a16:creationId xmlns:a16="http://schemas.microsoft.com/office/drawing/2014/main" id="{88FFA51A-01BE-4644-9E4E-BA9458958095}"/>
              </a:ext>
            </a:extLst>
          </p:cNvPr>
          <p:cNvPicPr>
            <a:picLocks noChangeAspect="1"/>
          </p:cNvPicPr>
          <p:nvPr/>
        </p:nvPicPr>
        <p:blipFill>
          <a:blip r:embed="rId3"/>
          <a:stretch>
            <a:fillRect/>
          </a:stretch>
        </p:blipFill>
        <p:spPr>
          <a:xfrm>
            <a:off x="3759869" y="1409549"/>
            <a:ext cx="4138863" cy="1062959"/>
          </a:xfrm>
          <a:prstGeom prst="rect">
            <a:avLst/>
          </a:prstGeom>
        </p:spPr>
      </p:pic>
      <p:pic>
        <p:nvPicPr>
          <p:cNvPr id="11" name="Picture 10">
            <a:extLst>
              <a:ext uri="{FF2B5EF4-FFF2-40B4-BE49-F238E27FC236}">
                <a16:creationId xmlns:a16="http://schemas.microsoft.com/office/drawing/2014/main" id="{BC543409-459F-4B50-B554-E9347D57F7F8}"/>
              </a:ext>
            </a:extLst>
          </p:cNvPr>
          <p:cNvPicPr>
            <a:picLocks noChangeAspect="1"/>
          </p:cNvPicPr>
          <p:nvPr/>
        </p:nvPicPr>
        <p:blipFill>
          <a:blip r:embed="rId4"/>
          <a:stretch>
            <a:fillRect/>
          </a:stretch>
        </p:blipFill>
        <p:spPr>
          <a:xfrm>
            <a:off x="3759868" y="2596924"/>
            <a:ext cx="4139957" cy="1674287"/>
          </a:xfrm>
          <a:prstGeom prst="rect">
            <a:avLst/>
          </a:prstGeom>
        </p:spPr>
      </p:pic>
    </p:spTree>
    <p:extLst>
      <p:ext uri="{BB962C8B-B14F-4D97-AF65-F5344CB8AC3E}">
        <p14:creationId xmlns:p14="http://schemas.microsoft.com/office/powerpoint/2010/main" val="590113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F63C15D-E3EE-4E83-86CD-78BCCCB0CF70}"/>
              </a:ext>
            </a:extLst>
          </p:cNvPr>
          <p:cNvSpPr txBox="1">
            <a:spLocks/>
          </p:cNvSpPr>
          <p:nvPr/>
        </p:nvSpPr>
        <p:spPr>
          <a:xfrm>
            <a:off x="750290" y="1762627"/>
            <a:ext cx="7906692" cy="26602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endParaRPr lang="en-US" sz="3000" dirty="0">
              <a:solidFill>
                <a:prstClr val="black">
                  <a:lumMod val="50000"/>
                  <a:lumOff val="50000"/>
                </a:prstClr>
              </a:solidFill>
            </a:endParaRPr>
          </a:p>
        </p:txBody>
      </p:sp>
      <p:sp>
        <p:nvSpPr>
          <p:cNvPr id="3" name="Title 2">
            <a:extLst>
              <a:ext uri="{FF2B5EF4-FFF2-40B4-BE49-F238E27FC236}">
                <a16:creationId xmlns:a16="http://schemas.microsoft.com/office/drawing/2014/main" id="{AAE11AD9-3FAE-4C30-9924-7763A4C488EC}"/>
              </a:ext>
            </a:extLst>
          </p:cNvPr>
          <p:cNvSpPr>
            <a:spLocks noGrp="1"/>
          </p:cNvSpPr>
          <p:nvPr>
            <p:ph type="title"/>
          </p:nvPr>
        </p:nvSpPr>
        <p:spPr>
          <a:xfrm>
            <a:off x="629841" y="544711"/>
            <a:ext cx="6318397" cy="1200150"/>
          </a:xfrm>
        </p:spPr>
        <p:txBody>
          <a:bodyPr/>
          <a:lstStyle/>
          <a:p>
            <a:r>
              <a:rPr lang="en-US" dirty="0">
                <a:solidFill>
                  <a:srgbClr val="446CA9"/>
                </a:solidFill>
              </a:rPr>
              <a:t>Contact Information </a:t>
            </a:r>
          </a:p>
        </p:txBody>
      </p:sp>
      <p:sp>
        <p:nvSpPr>
          <p:cNvPr id="12" name="Text Placeholder 1">
            <a:extLst>
              <a:ext uri="{FF2B5EF4-FFF2-40B4-BE49-F238E27FC236}">
                <a16:creationId xmlns:a16="http://schemas.microsoft.com/office/drawing/2014/main" id="{38EE60F3-6297-4CF1-8A00-FC6F94263BD9}"/>
              </a:ext>
            </a:extLst>
          </p:cNvPr>
          <p:cNvSpPr txBox="1">
            <a:spLocks/>
          </p:cNvSpPr>
          <p:nvPr/>
        </p:nvSpPr>
        <p:spPr>
          <a:xfrm>
            <a:off x="977565" y="4457598"/>
            <a:ext cx="6987341" cy="5722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900" dirty="0">
                <a:solidFill>
                  <a:prstClr val="black"/>
                </a:solidFill>
              </a:rPr>
              <a:t>NOTE: This presentation leaves copyright of the content to the presenter. Unless otherwise noted in the materials, uploaded content carries the </a:t>
            </a:r>
            <a:r>
              <a:rPr lang="en-US" sz="900" dirty="0">
                <a:solidFill>
                  <a:prstClr val="black"/>
                </a:solidFill>
                <a:hlinkClick r:id="rId3"/>
              </a:rPr>
              <a:t>Creative Commons Attribution 4.0 International (CC BY 4.0), </a:t>
            </a:r>
            <a:r>
              <a:rPr lang="en-US" sz="900" dirty="0">
                <a:solidFill>
                  <a:prstClr val="black"/>
                </a:solidFill>
              </a:rPr>
              <a:t>which grants usage to the general public, with appropriate credit to the author.</a:t>
            </a:r>
          </a:p>
        </p:txBody>
      </p:sp>
      <p:sp>
        <p:nvSpPr>
          <p:cNvPr id="14" name="Text Placeholder 3">
            <a:extLst>
              <a:ext uri="{FF2B5EF4-FFF2-40B4-BE49-F238E27FC236}">
                <a16:creationId xmlns:a16="http://schemas.microsoft.com/office/drawing/2014/main" id="{BEE71080-E299-491A-86DA-498A98AD265F}"/>
              </a:ext>
            </a:extLst>
          </p:cNvPr>
          <p:cNvSpPr>
            <a:spLocks noGrp="1"/>
          </p:cNvSpPr>
          <p:nvPr>
            <p:ph type="body" sz="half" idx="2"/>
          </p:nvPr>
        </p:nvSpPr>
        <p:spPr>
          <a:xfrm>
            <a:off x="645318" y="1821657"/>
            <a:ext cx="4057311" cy="2383381"/>
          </a:xfrm>
        </p:spPr>
        <p:txBody>
          <a:bodyPr/>
          <a:lstStyle/>
          <a:p>
            <a:r>
              <a:rPr lang="en-US" b="1" dirty="0" smtClean="0"/>
              <a:t>Christy Clark </a:t>
            </a:r>
            <a:r>
              <a:rPr lang="en-US" dirty="0" smtClean="0"/>
              <a:t>| Manager, Institutional Analytics Services</a:t>
            </a:r>
          </a:p>
          <a:p>
            <a:r>
              <a:rPr lang="en-US" dirty="0" smtClean="0"/>
              <a:t>Institutional Analytics and Planning (IAP)</a:t>
            </a:r>
          </a:p>
          <a:p>
            <a:r>
              <a:rPr lang="en-US" dirty="0" smtClean="0"/>
              <a:t>Office of the Vice-Principal (Strategy)</a:t>
            </a:r>
          </a:p>
          <a:p>
            <a:r>
              <a:rPr lang="en-US" b="1" dirty="0" smtClean="0"/>
              <a:t>THE UNIVERSITY OF SYDNEY</a:t>
            </a:r>
          </a:p>
          <a:p>
            <a:endParaRPr lang="en-US" b="1" dirty="0" smtClean="0"/>
          </a:p>
          <a:p>
            <a:r>
              <a:rPr lang="en-US" b="1" dirty="0" smtClean="0"/>
              <a:t>T</a:t>
            </a:r>
            <a:r>
              <a:rPr lang="en-US" dirty="0" smtClean="0"/>
              <a:t> +61 </a:t>
            </a:r>
            <a:r>
              <a:rPr lang="en-US" dirty="0"/>
              <a:t>2 </a:t>
            </a:r>
            <a:r>
              <a:rPr lang="en-US" dirty="0" smtClean="0"/>
              <a:t>9114 1313</a:t>
            </a:r>
          </a:p>
          <a:p>
            <a:r>
              <a:rPr lang="en-US" b="1" dirty="0" smtClean="0"/>
              <a:t>E</a:t>
            </a:r>
            <a:r>
              <a:rPr lang="en-US" dirty="0" smtClean="0"/>
              <a:t> </a:t>
            </a:r>
            <a:r>
              <a:rPr lang="en-US" dirty="0" smtClean="0">
                <a:hlinkClick r:id="rId4"/>
              </a:rPr>
              <a:t>christina.clark@sydney.edu.au</a:t>
            </a:r>
            <a:r>
              <a:rPr lang="en-US" dirty="0" smtClean="0"/>
              <a:t> </a:t>
            </a:r>
            <a:r>
              <a:rPr lang="en-US" dirty="0"/>
              <a:t>| </a:t>
            </a:r>
            <a:r>
              <a:rPr lang="en-US" b="1" dirty="0" smtClean="0"/>
              <a:t>W</a:t>
            </a:r>
            <a:r>
              <a:rPr lang="en-US" dirty="0" smtClean="0"/>
              <a:t> </a:t>
            </a:r>
            <a:r>
              <a:rPr lang="en-US" u="sng" dirty="0">
                <a:hlinkClick r:id="rId5"/>
              </a:rPr>
              <a:t>sydney.edu.au/staff-</a:t>
            </a:r>
            <a:r>
              <a:rPr lang="en-US" u="sng" dirty="0" err="1">
                <a:hlinkClick r:id="rId5"/>
              </a:rPr>
              <a:t>iap</a:t>
            </a:r>
            <a:endParaRPr lang="en-US" dirty="0" smtClean="0"/>
          </a:p>
          <a:p>
            <a:endParaRPr lang="en-US" dirty="0"/>
          </a:p>
        </p:txBody>
      </p:sp>
      <p:sp>
        <p:nvSpPr>
          <p:cNvPr id="6" name="Text Placeholder 3">
            <a:extLst>
              <a:ext uri="{FF2B5EF4-FFF2-40B4-BE49-F238E27FC236}">
                <a16:creationId xmlns:a16="http://schemas.microsoft.com/office/drawing/2014/main" id="{BEE71080-E299-491A-86DA-498A98AD265F}"/>
              </a:ext>
            </a:extLst>
          </p:cNvPr>
          <p:cNvSpPr txBox="1">
            <a:spLocks/>
          </p:cNvSpPr>
          <p:nvPr/>
        </p:nvSpPr>
        <p:spPr>
          <a:xfrm>
            <a:off x="4919582" y="1821656"/>
            <a:ext cx="4057311" cy="2383381"/>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pPr fontAlgn="auto">
              <a:spcAft>
                <a:spcPts val="0"/>
              </a:spcAft>
            </a:pPr>
            <a:r>
              <a:rPr lang="en-US" b="1" dirty="0" smtClean="0"/>
              <a:t>Shekaran Sury</a:t>
            </a:r>
            <a:r>
              <a:rPr lang="en-US" dirty="0" smtClean="0"/>
              <a:t>| Global Head</a:t>
            </a:r>
          </a:p>
          <a:p>
            <a:pPr fontAlgn="auto">
              <a:spcAft>
                <a:spcPts val="0"/>
              </a:spcAft>
            </a:pPr>
            <a:r>
              <a:rPr lang="en-US" dirty="0" smtClean="0"/>
              <a:t>Analytics &amp; AI Consulting</a:t>
            </a:r>
          </a:p>
          <a:p>
            <a:pPr fontAlgn="auto">
              <a:spcAft>
                <a:spcPts val="0"/>
              </a:spcAft>
            </a:pPr>
            <a:endParaRPr lang="en-US" b="1" dirty="0" smtClean="0"/>
          </a:p>
          <a:p>
            <a:pPr fontAlgn="auto">
              <a:spcAft>
                <a:spcPts val="0"/>
              </a:spcAft>
            </a:pPr>
            <a:r>
              <a:rPr lang="en-US" b="1" dirty="0" smtClean="0"/>
              <a:t>Wipro</a:t>
            </a:r>
          </a:p>
          <a:p>
            <a:pPr fontAlgn="auto">
              <a:spcAft>
                <a:spcPts val="0"/>
              </a:spcAft>
            </a:pPr>
            <a:endParaRPr lang="en-US" b="1" dirty="0" smtClean="0"/>
          </a:p>
          <a:p>
            <a:pPr fontAlgn="auto">
              <a:spcAft>
                <a:spcPts val="0"/>
              </a:spcAft>
            </a:pPr>
            <a:r>
              <a:rPr lang="en-US" b="1" dirty="0" smtClean="0"/>
              <a:t>L </a:t>
            </a:r>
            <a:r>
              <a:rPr lang="en-US" dirty="0" smtClean="0">
                <a:hlinkClick r:id="rId6"/>
              </a:rPr>
              <a:t>https</a:t>
            </a:r>
            <a:r>
              <a:rPr lang="en-US" dirty="0">
                <a:hlinkClick r:id="rId6"/>
              </a:rPr>
              <a:t>://www.linkedin.com/in/shekaransury</a:t>
            </a:r>
            <a:r>
              <a:rPr lang="en-US" dirty="0" smtClean="0">
                <a:hlinkClick r:id="rId6"/>
              </a:rPr>
              <a:t>/</a:t>
            </a:r>
            <a:r>
              <a:rPr lang="en-US" dirty="0" smtClean="0"/>
              <a:t> </a:t>
            </a:r>
          </a:p>
          <a:p>
            <a:pPr fontAlgn="auto">
              <a:spcAft>
                <a:spcPts val="0"/>
              </a:spcAft>
            </a:pPr>
            <a:r>
              <a:rPr lang="en-US" b="1" dirty="0" smtClean="0"/>
              <a:t>E</a:t>
            </a:r>
            <a:r>
              <a:rPr lang="en-US" dirty="0" smtClean="0"/>
              <a:t> </a:t>
            </a:r>
            <a:r>
              <a:rPr lang="en-US" dirty="0" smtClean="0">
                <a:hlinkClick r:id="rId7"/>
              </a:rPr>
              <a:t>Chandrashekaran.sury@Wipro.com</a:t>
            </a:r>
            <a:r>
              <a:rPr lang="en-US" dirty="0" smtClean="0"/>
              <a:t> </a:t>
            </a:r>
            <a:endParaRPr lang="en-US" dirty="0"/>
          </a:p>
        </p:txBody>
      </p:sp>
    </p:spTree>
    <p:extLst>
      <p:ext uri="{BB962C8B-B14F-4D97-AF65-F5344CB8AC3E}">
        <p14:creationId xmlns:p14="http://schemas.microsoft.com/office/powerpoint/2010/main" val="26785867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57683"/>
            <a:ext cx="2435682" cy="369332"/>
          </a:xfrm>
          <a:prstGeom prst="rect">
            <a:avLst/>
          </a:prstGeom>
        </p:spPr>
        <p:txBody>
          <a:bodyPr wrap="square" l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Values we live </a:t>
            </a:r>
            <a:r>
              <a:rPr kumimoji="0" lang="en-US" sz="18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Arial" panose="020B0604020202020204" pitchFamily="34" charset="0"/>
              </a:rPr>
              <a:t>by</a:t>
            </a:r>
            <a:endPar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5" name="Group 4"/>
          <p:cNvGrpSpPr/>
          <p:nvPr/>
        </p:nvGrpSpPr>
        <p:grpSpPr>
          <a:xfrm>
            <a:off x="230582" y="628309"/>
            <a:ext cx="8811717" cy="305869"/>
            <a:chOff x="263070" y="738092"/>
            <a:chExt cx="8811717" cy="305869"/>
          </a:xfrm>
        </p:grpSpPr>
        <p:grpSp>
          <p:nvGrpSpPr>
            <p:cNvPr id="6" name="Group 5"/>
            <p:cNvGrpSpPr/>
            <p:nvPr/>
          </p:nvGrpSpPr>
          <p:grpSpPr>
            <a:xfrm>
              <a:off x="263070" y="759842"/>
              <a:ext cx="2664981" cy="284119"/>
              <a:chOff x="231925" y="3778191"/>
              <a:chExt cx="2664981" cy="284119"/>
            </a:xfrm>
          </p:grpSpPr>
          <p:sp>
            <p:nvSpPr>
              <p:cNvPr id="16" name="Oval 15"/>
              <p:cNvSpPr/>
              <p:nvPr/>
            </p:nvSpPr>
            <p:spPr>
              <a:xfrm>
                <a:off x="231925" y="3778191"/>
                <a:ext cx="284119" cy="284119"/>
              </a:xfrm>
              <a:prstGeom prst="ellipse">
                <a:avLst/>
              </a:prstGeom>
              <a:solidFill>
                <a:srgbClr val="EC3342">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88345" rtl="0" eaLnBrk="1" fontAlgn="auto" latinLnBrk="0" hangingPunct="1">
                  <a:lnSpc>
                    <a:spcPct val="90000"/>
                  </a:lnSpc>
                  <a:spcBef>
                    <a:spcPct val="0"/>
                  </a:spcBef>
                  <a:spcAft>
                    <a:spcPts val="0"/>
                  </a:spcAft>
                  <a:buClrTx/>
                  <a:buSzTx/>
                  <a:buFontTx/>
                  <a:buNone/>
                  <a:tabLst/>
                  <a:defRPr/>
                </a:pPr>
                <a:endParaRPr kumimoji="0" lang="en-US" sz="900" b="1" i="0" u="none" strike="noStrike" kern="1200" cap="none" spc="0" normalizeH="0" baseline="0" noProof="0" dirty="0">
                  <a:ln>
                    <a:noFill/>
                  </a:ln>
                  <a:solidFill>
                    <a:srgbClr val="002060"/>
                  </a:solidFill>
                  <a:effectLst/>
                  <a:uLnTx/>
                  <a:uFillTx/>
                  <a:latin typeface="Arial" panose="020B0604020202020204" pitchFamily="34" charset="0"/>
                  <a:ea typeface="Arial" charset="0"/>
                  <a:cs typeface="Arial" panose="020B0604020202020204" pitchFamily="34" charset="0"/>
                </a:endParaRPr>
              </a:p>
            </p:txBody>
          </p:sp>
          <p:sp>
            <p:nvSpPr>
              <p:cNvPr id="17" name="TextBox 16"/>
              <p:cNvSpPr txBox="1"/>
              <p:nvPr/>
            </p:nvSpPr>
            <p:spPr>
              <a:xfrm>
                <a:off x="318383" y="3803488"/>
                <a:ext cx="2578523" cy="2308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e passionate about clients’ success</a:t>
                </a:r>
              </a:p>
            </p:txBody>
          </p:sp>
        </p:grpSp>
        <p:grpSp>
          <p:nvGrpSpPr>
            <p:cNvPr id="7" name="Group 6"/>
            <p:cNvGrpSpPr/>
            <p:nvPr/>
          </p:nvGrpSpPr>
          <p:grpSpPr>
            <a:xfrm>
              <a:off x="2611437" y="757684"/>
              <a:ext cx="2063076" cy="284119"/>
              <a:chOff x="2581147" y="3784758"/>
              <a:chExt cx="2063076" cy="284119"/>
            </a:xfrm>
          </p:grpSpPr>
          <p:sp>
            <p:nvSpPr>
              <p:cNvPr id="14" name="Oval 13"/>
              <p:cNvSpPr/>
              <p:nvPr/>
            </p:nvSpPr>
            <p:spPr>
              <a:xfrm>
                <a:off x="2581147" y="3784758"/>
                <a:ext cx="284119" cy="284119"/>
              </a:xfrm>
              <a:prstGeom prst="ellipse">
                <a:avLst/>
              </a:prstGeom>
              <a:solidFill>
                <a:srgbClr val="FCD92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a:xfrm>
                <a:off x="2667606" y="3797159"/>
                <a:ext cx="1976617" cy="2308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reat each person with respect</a:t>
                </a:r>
              </a:p>
            </p:txBody>
          </p:sp>
        </p:grpSp>
        <p:grpSp>
          <p:nvGrpSpPr>
            <p:cNvPr id="8" name="Group 7"/>
            <p:cNvGrpSpPr/>
            <p:nvPr/>
          </p:nvGrpSpPr>
          <p:grpSpPr>
            <a:xfrm>
              <a:off x="4637309" y="742493"/>
              <a:ext cx="2640872" cy="284119"/>
              <a:chOff x="4732359" y="3784749"/>
              <a:chExt cx="2640872" cy="284119"/>
            </a:xfrm>
          </p:grpSpPr>
          <p:sp>
            <p:nvSpPr>
              <p:cNvPr id="12" name="Oval 11"/>
              <p:cNvSpPr/>
              <p:nvPr/>
            </p:nvSpPr>
            <p:spPr>
              <a:xfrm>
                <a:off x="4732359" y="3784749"/>
                <a:ext cx="284119" cy="284119"/>
              </a:xfrm>
              <a:prstGeom prst="ellipse">
                <a:avLst/>
              </a:prstGeom>
              <a:solidFill>
                <a:srgbClr val="70BD4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3" name="TextBox 12"/>
              <p:cNvSpPr txBox="1"/>
              <p:nvPr/>
            </p:nvSpPr>
            <p:spPr>
              <a:xfrm>
                <a:off x="4794708" y="3812297"/>
                <a:ext cx="2578523" cy="2308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e global and responsible </a:t>
                </a:r>
              </a:p>
            </p:txBody>
          </p:sp>
        </p:grpSp>
        <p:grpSp>
          <p:nvGrpSpPr>
            <p:cNvPr id="9" name="Group 8"/>
            <p:cNvGrpSpPr/>
            <p:nvPr/>
          </p:nvGrpSpPr>
          <p:grpSpPr>
            <a:xfrm>
              <a:off x="6424628" y="738092"/>
              <a:ext cx="2650159" cy="284119"/>
              <a:chOff x="6604023" y="3778191"/>
              <a:chExt cx="2650159" cy="284119"/>
            </a:xfrm>
          </p:grpSpPr>
          <p:sp>
            <p:nvSpPr>
              <p:cNvPr id="10" name="Oval 9"/>
              <p:cNvSpPr/>
              <p:nvPr/>
            </p:nvSpPr>
            <p:spPr>
              <a:xfrm>
                <a:off x="6604023" y="3778191"/>
                <a:ext cx="284119" cy="284119"/>
              </a:xfrm>
              <a:prstGeom prst="ellipse">
                <a:avLst/>
              </a:prstGeom>
              <a:solidFill>
                <a:srgbClr val="149FD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63"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2060"/>
                  </a:solidFill>
                  <a:effectLst/>
                  <a:uLnTx/>
                  <a:uFillTx/>
                  <a:latin typeface="Arial" panose="020B0604020202020204" pitchFamily="34" charset="0"/>
                  <a:ea typeface="Arial" charset="0"/>
                  <a:cs typeface="Arial" panose="020B0604020202020204" pitchFamily="34" charset="0"/>
                </a:endParaRPr>
              </a:p>
            </p:txBody>
          </p:sp>
          <p:sp>
            <p:nvSpPr>
              <p:cNvPr id="11" name="TextBox 10"/>
              <p:cNvSpPr txBox="1"/>
              <p:nvPr/>
            </p:nvSpPr>
            <p:spPr>
              <a:xfrm>
                <a:off x="6675659" y="3795327"/>
                <a:ext cx="2578523" cy="2308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nyielding integrity in everything we do</a:t>
                </a:r>
              </a:p>
            </p:txBody>
          </p:sp>
        </p:grpSp>
      </p:gr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5197" y="1139731"/>
            <a:ext cx="2611842" cy="2611842"/>
          </a:xfrm>
          <a:prstGeom prst="rect">
            <a:avLst/>
          </a:prstGeom>
        </p:spPr>
      </p:pic>
      <p:sp>
        <p:nvSpPr>
          <p:cNvPr id="19" name="Rectangle 18">
            <a:extLst>
              <a:ext uri="{FF2B5EF4-FFF2-40B4-BE49-F238E27FC236}">
                <a16:creationId xmlns:a16="http://schemas.microsoft.com/office/drawing/2014/main" id="{9604B78C-F8FA-4B7D-85E6-425AACEA0F50}"/>
              </a:ext>
            </a:extLst>
          </p:cNvPr>
          <p:cNvSpPr/>
          <p:nvPr/>
        </p:nvSpPr>
        <p:spPr>
          <a:xfrm>
            <a:off x="231925" y="1135654"/>
            <a:ext cx="3057525"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Endowment value of 15 </a:t>
            </a:r>
            <a:r>
              <a:rPr kumimoji="0" lang="en-US" sz="1400" b="1"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bn</a:t>
            </a:r>
            <a:r>
              <a:rPr kumimoji="0" lang="en-US" sz="1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USD for philanthropy</a:t>
            </a:r>
          </a:p>
        </p:txBody>
      </p:sp>
      <p:sp>
        <p:nvSpPr>
          <p:cNvPr id="20" name="Rectangle 19">
            <a:extLst>
              <a:ext uri="{FF2B5EF4-FFF2-40B4-BE49-F238E27FC236}">
                <a16:creationId xmlns:a16="http://schemas.microsoft.com/office/drawing/2014/main" id="{570C59A4-38E0-4290-A15B-862AECD9A5FD}"/>
              </a:ext>
            </a:extLst>
          </p:cNvPr>
          <p:cNvSpPr/>
          <p:nvPr/>
        </p:nvSpPr>
        <p:spPr>
          <a:xfrm>
            <a:off x="231925" y="1914079"/>
            <a:ext cx="2474545" cy="95410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40% of Wipro profits go towards philanthropy through the Chairman’s foundation</a:t>
            </a:r>
          </a:p>
        </p:txBody>
      </p:sp>
      <p:sp>
        <p:nvSpPr>
          <p:cNvPr id="21" name="Rectangle 20">
            <a:extLst>
              <a:ext uri="{FF2B5EF4-FFF2-40B4-BE49-F238E27FC236}">
                <a16:creationId xmlns:a16="http://schemas.microsoft.com/office/drawing/2014/main" id="{0A8A5ECD-CED9-4213-80A8-854C2E097236}"/>
              </a:ext>
            </a:extLst>
          </p:cNvPr>
          <p:cNvSpPr/>
          <p:nvPr/>
        </p:nvSpPr>
        <p:spPr>
          <a:xfrm>
            <a:off x="231924" y="3144592"/>
            <a:ext cx="2653177"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2% of Wipro’s net profits go directly towards CSR</a:t>
            </a:r>
          </a:p>
        </p:txBody>
      </p:sp>
      <p:grpSp>
        <p:nvGrpSpPr>
          <p:cNvPr id="22" name="Group 21"/>
          <p:cNvGrpSpPr/>
          <p:nvPr/>
        </p:nvGrpSpPr>
        <p:grpSpPr>
          <a:xfrm>
            <a:off x="6378217" y="2640517"/>
            <a:ext cx="2011464" cy="1063822"/>
            <a:chOff x="6367499" y="2762727"/>
            <a:chExt cx="2011464" cy="1063822"/>
          </a:xfrm>
        </p:grpSpPr>
        <p:sp>
          <p:nvSpPr>
            <p:cNvPr id="23" name="TextBox 22"/>
            <p:cNvSpPr txBox="1"/>
            <p:nvPr/>
          </p:nvSpPr>
          <p:spPr bwMode="gray">
            <a:xfrm>
              <a:off x="6367499" y="2762727"/>
              <a:ext cx="2011464"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orld’s </a:t>
              </a:r>
              <a:r>
                <a:rPr kumimoji="0" 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ost </a:t>
              </a:r>
              <a:endParaRPr kumimoji="0" lang="en-US" sz="1600" b="1" i="0" u="none" strike="noStrike" kern="1200" cap="none" spc="0" normalizeH="0" baseline="0" noProof="0" dirty="0" smtClean="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Ethical </a:t>
              </a:r>
              <a:r>
                <a:rPr kumimoji="0" 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mpani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a:t>
              </a:r>
              <a:endPar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24" name="TextBox 23"/>
            <p:cNvSpPr txBox="1"/>
            <p:nvPr/>
          </p:nvSpPr>
          <p:spPr>
            <a:xfrm>
              <a:off x="6511316" y="3272551"/>
              <a:ext cx="1809872"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By Ethisphere Institute for the 7</a:t>
              </a:r>
              <a:r>
                <a:rPr kumimoji="0" lang="en-US" sz="1000" b="0" i="0" u="none" strike="noStrike" kern="1200" cap="none" spc="0" normalizeH="0" baseline="3000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h</a:t>
              </a:r>
              <a:r>
                <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successive year, 2018</a:t>
              </a:r>
            </a:p>
          </p:txBody>
        </p:sp>
      </p:grpSp>
      <p:grpSp>
        <p:nvGrpSpPr>
          <p:cNvPr id="25" name="Group 24"/>
          <p:cNvGrpSpPr/>
          <p:nvPr/>
        </p:nvGrpSpPr>
        <p:grpSpPr>
          <a:xfrm>
            <a:off x="6295043" y="1078095"/>
            <a:ext cx="2156376" cy="1367557"/>
            <a:chOff x="6345210" y="1311876"/>
            <a:chExt cx="2156376" cy="1367557"/>
          </a:xfrm>
        </p:grpSpPr>
        <p:sp>
          <p:nvSpPr>
            <p:cNvPr id="26" name="TextBox 25"/>
            <p:cNvSpPr txBox="1"/>
            <p:nvPr/>
          </p:nvSpPr>
          <p:spPr bwMode="gray">
            <a:xfrm>
              <a:off x="6345210" y="1311876"/>
              <a:ext cx="2156376"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Included in the Dow Jones Sustainability Index (DJSI</a:t>
              </a:r>
              <a:r>
                <a:rPr kumimoji="0" lang="en-US" sz="1600" b="1" i="0" u="none" strike="noStrike" kern="1200" cap="none" spc="0" normalizeH="0" baseline="0" noProof="0" dirty="0" smtClean="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t>
              </a:r>
              <a:endPar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27" name="TextBox 26"/>
            <p:cNvSpPr txBox="1"/>
            <p:nvPr/>
          </p:nvSpPr>
          <p:spPr>
            <a:xfrm>
              <a:off x="6557799" y="2125435"/>
              <a:ext cx="1809872"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orld and Emerging Markets for the </a:t>
              </a:r>
              <a:r>
                <a:rPr kumimoji="0" lang="en-US" sz="10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9</a:t>
              </a:r>
              <a:r>
                <a:rPr kumimoji="0" lang="en-US" sz="1000" b="1" i="0" u="none" strike="noStrike" kern="1200" cap="none" spc="0" normalizeH="0" baseline="3000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h</a:t>
              </a:r>
              <a:r>
                <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time in </a:t>
              </a:r>
              <a:r>
                <a:rPr kumimoji="0" lang="en-US" sz="1000" b="0" i="0" u="none" strike="noStrike" kern="1200" cap="none" spc="0" normalizeH="0" baseline="0" noProof="0" dirty="0" smtClean="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succession</a:t>
              </a:r>
              <a:endParaRPr kumimoji="0" lang="en-US" sz="10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28" name="Rectangle 27">
            <a:extLst>
              <a:ext uri="{FF2B5EF4-FFF2-40B4-BE49-F238E27FC236}">
                <a16:creationId xmlns:a16="http://schemas.microsoft.com/office/drawing/2014/main" id="{279D1175-06EE-4A99-9742-BD51B8C493C1}"/>
              </a:ext>
            </a:extLst>
          </p:cNvPr>
          <p:cNvSpPr/>
          <p:nvPr/>
        </p:nvSpPr>
        <p:spPr>
          <a:xfrm>
            <a:off x="0" y="3905158"/>
            <a:ext cx="9144000" cy="261610"/>
          </a:xfrm>
          <a:prstGeom prst="rect">
            <a:avLst/>
          </a:prstGeom>
          <a:solidFill>
            <a:srgbClr val="002060"/>
          </a:solidFill>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ipro’s Community Initiatives </a:t>
            </a:r>
          </a:p>
        </p:txBody>
      </p:sp>
      <p:grpSp>
        <p:nvGrpSpPr>
          <p:cNvPr id="29" name="Group 28">
            <a:extLst>
              <a:ext uri="{FF2B5EF4-FFF2-40B4-BE49-F238E27FC236}">
                <a16:creationId xmlns:a16="http://schemas.microsoft.com/office/drawing/2014/main" id="{DDA1168E-2595-44F4-8C53-4A1BA20F9BFE}"/>
              </a:ext>
            </a:extLst>
          </p:cNvPr>
          <p:cNvGrpSpPr/>
          <p:nvPr/>
        </p:nvGrpSpPr>
        <p:grpSpPr>
          <a:xfrm>
            <a:off x="296123" y="4193789"/>
            <a:ext cx="8617396" cy="769441"/>
            <a:chOff x="213731" y="4192166"/>
            <a:chExt cx="8617396" cy="769441"/>
          </a:xfrm>
        </p:grpSpPr>
        <p:sp>
          <p:nvSpPr>
            <p:cNvPr id="30" name="Rectangle 29">
              <a:extLst>
                <a:ext uri="{FF2B5EF4-FFF2-40B4-BE49-F238E27FC236}">
                  <a16:creationId xmlns:a16="http://schemas.microsoft.com/office/drawing/2014/main" id="{04AE8193-2B3A-4D4A-840C-05419EFE0459}"/>
                </a:ext>
              </a:extLst>
            </p:cNvPr>
            <p:cNvSpPr/>
            <p:nvPr/>
          </p:nvSpPr>
          <p:spPr>
            <a:xfrm>
              <a:off x="717084" y="4361442"/>
              <a:ext cx="1465373" cy="430887"/>
            </a:xfrm>
            <a:prstGeom prst="rect">
              <a:avLst/>
            </a:prstGeom>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Science Education Fellowship program</a:t>
              </a:r>
            </a:p>
          </p:txBody>
        </p:sp>
        <p:grpSp>
          <p:nvGrpSpPr>
            <p:cNvPr id="31" name="Group 30">
              <a:extLst>
                <a:ext uri="{FF2B5EF4-FFF2-40B4-BE49-F238E27FC236}">
                  <a16:creationId xmlns:a16="http://schemas.microsoft.com/office/drawing/2014/main" id="{07C7B169-B6FB-4E57-BBA8-58F6BFE361D1}"/>
                </a:ext>
              </a:extLst>
            </p:cNvPr>
            <p:cNvGrpSpPr>
              <a:grpSpLocks noChangeAspect="1"/>
            </p:cNvGrpSpPr>
            <p:nvPr/>
          </p:nvGrpSpPr>
          <p:grpSpPr>
            <a:xfrm>
              <a:off x="213731" y="4294964"/>
              <a:ext cx="563845" cy="563845"/>
              <a:chOff x="-267473" y="817420"/>
              <a:chExt cx="521208" cy="521208"/>
            </a:xfrm>
          </p:grpSpPr>
          <p:sp>
            <p:nvSpPr>
              <p:cNvPr id="59" name="Oval 58">
                <a:extLst>
                  <a:ext uri="{FF2B5EF4-FFF2-40B4-BE49-F238E27FC236}">
                    <a16:creationId xmlns:a16="http://schemas.microsoft.com/office/drawing/2014/main" id="{CB39623A-EC84-4201-9EB2-1392656A0582}"/>
                  </a:ext>
                </a:extLst>
              </p:cNvPr>
              <p:cNvSpPr/>
              <p:nvPr/>
            </p:nvSpPr>
            <p:spPr>
              <a:xfrm>
                <a:off x="-267473" y="817420"/>
                <a:ext cx="521208" cy="521208"/>
              </a:xfrm>
              <a:prstGeom prst="ellipse">
                <a:avLst/>
              </a:prstGeom>
              <a:solidFill>
                <a:schemeClr val="accent6"/>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nvGrpSpPr>
              <p:cNvPr id="60" name="Group 59">
                <a:extLst>
                  <a:ext uri="{FF2B5EF4-FFF2-40B4-BE49-F238E27FC236}">
                    <a16:creationId xmlns:a16="http://schemas.microsoft.com/office/drawing/2014/main" id="{EC640C7C-ADE8-4A12-BD42-9B99BA17E0A2}"/>
                  </a:ext>
                </a:extLst>
              </p:cNvPr>
              <p:cNvGrpSpPr/>
              <p:nvPr/>
            </p:nvGrpSpPr>
            <p:grpSpPr>
              <a:xfrm>
                <a:off x="-167032" y="902094"/>
                <a:ext cx="320322" cy="351826"/>
                <a:chOff x="6229350" y="5521371"/>
                <a:chExt cx="515945" cy="566693"/>
              </a:xfrm>
              <a:noFill/>
              <a:effectLst/>
            </p:grpSpPr>
            <p:sp>
              <p:nvSpPr>
                <p:cNvPr id="62" name="Freeform 375">
                  <a:extLst>
                    <a:ext uri="{FF2B5EF4-FFF2-40B4-BE49-F238E27FC236}">
                      <a16:creationId xmlns:a16="http://schemas.microsoft.com/office/drawing/2014/main" id="{4156E2C0-A592-4D47-9CB0-1E7631D03BE6}"/>
                    </a:ext>
                  </a:extLst>
                </p:cNvPr>
                <p:cNvSpPr>
                  <a:spLocks/>
                </p:cNvSpPr>
                <p:nvPr/>
              </p:nvSpPr>
              <p:spPr bwMode="auto">
                <a:xfrm>
                  <a:off x="6388106" y="5667426"/>
                  <a:ext cx="92074" cy="82551"/>
                </a:xfrm>
                <a:custGeom>
                  <a:avLst/>
                  <a:gdLst>
                    <a:gd name="T0" fmla="*/ 151 w 172"/>
                    <a:gd name="T1" fmla="*/ 9 h 154"/>
                    <a:gd name="T2" fmla="*/ 150 w 172"/>
                    <a:gd name="T3" fmla="*/ 6 h 154"/>
                    <a:gd name="T4" fmla="*/ 148 w 172"/>
                    <a:gd name="T5" fmla="*/ 3 h 154"/>
                    <a:gd name="T6" fmla="*/ 145 w 172"/>
                    <a:gd name="T7" fmla="*/ 1 h 154"/>
                    <a:gd name="T8" fmla="*/ 141 w 172"/>
                    <a:gd name="T9" fmla="*/ 0 h 154"/>
                    <a:gd name="T10" fmla="*/ 138 w 172"/>
                    <a:gd name="T11" fmla="*/ 1 h 154"/>
                    <a:gd name="T12" fmla="*/ 136 w 172"/>
                    <a:gd name="T13" fmla="*/ 2 h 154"/>
                    <a:gd name="T14" fmla="*/ 97 w 172"/>
                    <a:gd name="T15" fmla="*/ 20 h 154"/>
                    <a:gd name="T16" fmla="*/ 95 w 172"/>
                    <a:gd name="T17" fmla="*/ 21 h 154"/>
                    <a:gd name="T18" fmla="*/ 93 w 172"/>
                    <a:gd name="T19" fmla="*/ 22 h 154"/>
                    <a:gd name="T20" fmla="*/ 91 w 172"/>
                    <a:gd name="T21" fmla="*/ 24 h 154"/>
                    <a:gd name="T22" fmla="*/ 90 w 172"/>
                    <a:gd name="T23" fmla="*/ 27 h 154"/>
                    <a:gd name="T24" fmla="*/ 89 w 172"/>
                    <a:gd name="T25" fmla="*/ 30 h 154"/>
                    <a:gd name="T26" fmla="*/ 91 w 172"/>
                    <a:gd name="T27" fmla="*/ 34 h 154"/>
                    <a:gd name="T28" fmla="*/ 101 w 172"/>
                    <a:gd name="T29" fmla="*/ 54 h 154"/>
                    <a:gd name="T30" fmla="*/ 70 w 172"/>
                    <a:gd name="T31" fmla="*/ 54 h 154"/>
                    <a:gd name="T32" fmla="*/ 70 w 172"/>
                    <a:gd name="T33" fmla="*/ 37 h 154"/>
                    <a:gd name="T34" fmla="*/ 69 w 172"/>
                    <a:gd name="T35" fmla="*/ 33 h 154"/>
                    <a:gd name="T36" fmla="*/ 67 w 172"/>
                    <a:gd name="T37" fmla="*/ 30 h 154"/>
                    <a:gd name="T38" fmla="*/ 65 w 172"/>
                    <a:gd name="T39" fmla="*/ 28 h 154"/>
                    <a:gd name="T40" fmla="*/ 63 w 172"/>
                    <a:gd name="T41" fmla="*/ 28 h 154"/>
                    <a:gd name="T42" fmla="*/ 57 w 172"/>
                    <a:gd name="T43" fmla="*/ 30 h 154"/>
                    <a:gd name="T44" fmla="*/ 54 w 172"/>
                    <a:gd name="T45" fmla="*/ 32 h 154"/>
                    <a:gd name="T46" fmla="*/ 4 w 172"/>
                    <a:gd name="T47" fmla="*/ 83 h 154"/>
                    <a:gd name="T48" fmla="*/ 1 w 172"/>
                    <a:gd name="T49" fmla="*/ 86 h 154"/>
                    <a:gd name="T50" fmla="*/ 0 w 172"/>
                    <a:gd name="T51" fmla="*/ 91 h 154"/>
                    <a:gd name="T52" fmla="*/ 0 w 172"/>
                    <a:gd name="T53" fmla="*/ 95 h 154"/>
                    <a:gd name="T54" fmla="*/ 3 w 172"/>
                    <a:gd name="T55" fmla="*/ 99 h 154"/>
                    <a:gd name="T56" fmla="*/ 13 w 172"/>
                    <a:gd name="T57" fmla="*/ 110 h 154"/>
                    <a:gd name="T58" fmla="*/ 31 w 172"/>
                    <a:gd name="T59" fmla="*/ 127 h 154"/>
                    <a:gd name="T60" fmla="*/ 48 w 172"/>
                    <a:gd name="T61" fmla="*/ 143 h 154"/>
                    <a:gd name="T62" fmla="*/ 55 w 172"/>
                    <a:gd name="T63" fmla="*/ 150 h 154"/>
                    <a:gd name="T64" fmla="*/ 58 w 172"/>
                    <a:gd name="T65" fmla="*/ 152 h 154"/>
                    <a:gd name="T66" fmla="*/ 64 w 172"/>
                    <a:gd name="T67" fmla="*/ 154 h 154"/>
                    <a:gd name="T68" fmla="*/ 65 w 172"/>
                    <a:gd name="T69" fmla="*/ 154 h 154"/>
                    <a:gd name="T70" fmla="*/ 68 w 172"/>
                    <a:gd name="T71" fmla="*/ 152 h 154"/>
                    <a:gd name="T72" fmla="*/ 69 w 172"/>
                    <a:gd name="T73" fmla="*/ 151 h 154"/>
                    <a:gd name="T74" fmla="*/ 70 w 172"/>
                    <a:gd name="T75" fmla="*/ 149 h 154"/>
                    <a:gd name="T76" fmla="*/ 71 w 172"/>
                    <a:gd name="T77" fmla="*/ 147 h 154"/>
                    <a:gd name="T78" fmla="*/ 72 w 172"/>
                    <a:gd name="T79" fmla="*/ 144 h 154"/>
                    <a:gd name="T80" fmla="*/ 72 w 172"/>
                    <a:gd name="T81" fmla="*/ 128 h 154"/>
                    <a:gd name="T82" fmla="*/ 148 w 172"/>
                    <a:gd name="T83" fmla="*/ 128 h 154"/>
                    <a:gd name="T84" fmla="*/ 150 w 172"/>
                    <a:gd name="T85" fmla="*/ 128 h 154"/>
                    <a:gd name="T86" fmla="*/ 153 w 172"/>
                    <a:gd name="T87" fmla="*/ 127 h 154"/>
                    <a:gd name="T88" fmla="*/ 154 w 172"/>
                    <a:gd name="T89" fmla="*/ 126 h 154"/>
                    <a:gd name="T90" fmla="*/ 156 w 172"/>
                    <a:gd name="T91" fmla="*/ 124 h 154"/>
                    <a:gd name="T92" fmla="*/ 157 w 172"/>
                    <a:gd name="T93" fmla="*/ 122 h 154"/>
                    <a:gd name="T94" fmla="*/ 157 w 172"/>
                    <a:gd name="T95" fmla="*/ 119 h 154"/>
                    <a:gd name="T96" fmla="*/ 159 w 172"/>
                    <a:gd name="T97" fmla="*/ 111 h 154"/>
                    <a:gd name="T98" fmla="*/ 163 w 172"/>
                    <a:gd name="T99" fmla="*/ 96 h 154"/>
                    <a:gd name="T100" fmla="*/ 169 w 172"/>
                    <a:gd name="T101" fmla="*/ 78 h 154"/>
                    <a:gd name="T102" fmla="*/ 172 w 172"/>
                    <a:gd name="T103" fmla="*/ 68 h 154"/>
                    <a:gd name="T104" fmla="*/ 172 w 172"/>
                    <a:gd name="T105" fmla="*/ 68 h 154"/>
                    <a:gd name="T106" fmla="*/ 172 w 172"/>
                    <a:gd name="T107" fmla="*/ 67 h 154"/>
                    <a:gd name="T108" fmla="*/ 172 w 172"/>
                    <a:gd name="T109" fmla="*/ 66 h 154"/>
                    <a:gd name="T110" fmla="*/ 172 w 172"/>
                    <a:gd name="T111" fmla="*/ 65 h 154"/>
                    <a:gd name="T112" fmla="*/ 171 w 172"/>
                    <a:gd name="T113" fmla="*/ 61 h 154"/>
                    <a:gd name="T114" fmla="*/ 170 w 172"/>
                    <a:gd name="T115" fmla="*/ 58 h 154"/>
                    <a:gd name="T116" fmla="*/ 151 w 172"/>
                    <a:gd name="T117" fmla="*/ 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54">
                      <a:moveTo>
                        <a:pt x="151" y="9"/>
                      </a:moveTo>
                      <a:lnTo>
                        <a:pt x="150" y="6"/>
                      </a:lnTo>
                      <a:lnTo>
                        <a:pt x="148" y="3"/>
                      </a:lnTo>
                      <a:lnTo>
                        <a:pt x="145" y="1"/>
                      </a:lnTo>
                      <a:lnTo>
                        <a:pt x="141" y="0"/>
                      </a:lnTo>
                      <a:lnTo>
                        <a:pt x="138" y="1"/>
                      </a:lnTo>
                      <a:lnTo>
                        <a:pt x="136" y="2"/>
                      </a:lnTo>
                      <a:lnTo>
                        <a:pt x="97" y="20"/>
                      </a:lnTo>
                      <a:lnTo>
                        <a:pt x="95" y="21"/>
                      </a:lnTo>
                      <a:lnTo>
                        <a:pt x="93" y="22"/>
                      </a:lnTo>
                      <a:lnTo>
                        <a:pt x="91" y="24"/>
                      </a:lnTo>
                      <a:lnTo>
                        <a:pt x="90" y="27"/>
                      </a:lnTo>
                      <a:lnTo>
                        <a:pt x="89" y="30"/>
                      </a:lnTo>
                      <a:lnTo>
                        <a:pt x="91" y="34"/>
                      </a:lnTo>
                      <a:lnTo>
                        <a:pt x="101" y="54"/>
                      </a:lnTo>
                      <a:lnTo>
                        <a:pt x="70" y="54"/>
                      </a:lnTo>
                      <a:lnTo>
                        <a:pt x="70" y="37"/>
                      </a:lnTo>
                      <a:lnTo>
                        <a:pt x="69" y="33"/>
                      </a:lnTo>
                      <a:lnTo>
                        <a:pt x="67" y="30"/>
                      </a:lnTo>
                      <a:lnTo>
                        <a:pt x="65" y="28"/>
                      </a:lnTo>
                      <a:lnTo>
                        <a:pt x="63" y="28"/>
                      </a:lnTo>
                      <a:lnTo>
                        <a:pt x="57" y="30"/>
                      </a:lnTo>
                      <a:lnTo>
                        <a:pt x="54" y="32"/>
                      </a:lnTo>
                      <a:lnTo>
                        <a:pt x="4" y="83"/>
                      </a:lnTo>
                      <a:lnTo>
                        <a:pt x="1" y="86"/>
                      </a:lnTo>
                      <a:lnTo>
                        <a:pt x="0" y="91"/>
                      </a:lnTo>
                      <a:lnTo>
                        <a:pt x="0" y="95"/>
                      </a:lnTo>
                      <a:lnTo>
                        <a:pt x="3" y="99"/>
                      </a:lnTo>
                      <a:lnTo>
                        <a:pt x="13" y="110"/>
                      </a:lnTo>
                      <a:lnTo>
                        <a:pt x="31" y="127"/>
                      </a:lnTo>
                      <a:lnTo>
                        <a:pt x="48" y="143"/>
                      </a:lnTo>
                      <a:lnTo>
                        <a:pt x="55" y="150"/>
                      </a:lnTo>
                      <a:lnTo>
                        <a:pt x="58" y="152"/>
                      </a:lnTo>
                      <a:lnTo>
                        <a:pt x="64" y="154"/>
                      </a:lnTo>
                      <a:lnTo>
                        <a:pt x="65" y="154"/>
                      </a:lnTo>
                      <a:lnTo>
                        <a:pt x="68" y="152"/>
                      </a:lnTo>
                      <a:lnTo>
                        <a:pt x="69" y="151"/>
                      </a:lnTo>
                      <a:lnTo>
                        <a:pt x="70" y="149"/>
                      </a:lnTo>
                      <a:lnTo>
                        <a:pt x="71" y="147"/>
                      </a:lnTo>
                      <a:lnTo>
                        <a:pt x="72" y="144"/>
                      </a:lnTo>
                      <a:lnTo>
                        <a:pt x="72" y="128"/>
                      </a:lnTo>
                      <a:lnTo>
                        <a:pt x="148" y="128"/>
                      </a:lnTo>
                      <a:lnTo>
                        <a:pt x="150" y="128"/>
                      </a:lnTo>
                      <a:lnTo>
                        <a:pt x="153" y="127"/>
                      </a:lnTo>
                      <a:lnTo>
                        <a:pt x="154" y="126"/>
                      </a:lnTo>
                      <a:lnTo>
                        <a:pt x="156" y="124"/>
                      </a:lnTo>
                      <a:lnTo>
                        <a:pt x="157" y="122"/>
                      </a:lnTo>
                      <a:lnTo>
                        <a:pt x="157" y="119"/>
                      </a:lnTo>
                      <a:lnTo>
                        <a:pt x="159" y="111"/>
                      </a:lnTo>
                      <a:lnTo>
                        <a:pt x="163" y="96"/>
                      </a:lnTo>
                      <a:lnTo>
                        <a:pt x="169" y="78"/>
                      </a:lnTo>
                      <a:lnTo>
                        <a:pt x="172" y="68"/>
                      </a:lnTo>
                      <a:lnTo>
                        <a:pt x="172" y="68"/>
                      </a:lnTo>
                      <a:lnTo>
                        <a:pt x="172" y="67"/>
                      </a:lnTo>
                      <a:lnTo>
                        <a:pt x="172" y="66"/>
                      </a:lnTo>
                      <a:lnTo>
                        <a:pt x="172" y="65"/>
                      </a:lnTo>
                      <a:lnTo>
                        <a:pt x="171" y="61"/>
                      </a:lnTo>
                      <a:lnTo>
                        <a:pt x="170" y="58"/>
                      </a:lnTo>
                      <a:lnTo>
                        <a:pt x="151" y="9"/>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3" name="Freeform 376">
                  <a:extLst>
                    <a:ext uri="{FF2B5EF4-FFF2-40B4-BE49-F238E27FC236}">
                      <a16:creationId xmlns:a16="http://schemas.microsoft.com/office/drawing/2014/main" id="{C3E5E7E0-D83A-4B29-A10C-AA45C2C8D408}"/>
                    </a:ext>
                  </a:extLst>
                </p:cNvPr>
                <p:cNvSpPr>
                  <a:spLocks noEditPoints="1"/>
                </p:cNvSpPr>
                <p:nvPr/>
              </p:nvSpPr>
              <p:spPr bwMode="auto">
                <a:xfrm>
                  <a:off x="6369056" y="5584875"/>
                  <a:ext cx="92074" cy="79376"/>
                </a:xfrm>
                <a:custGeom>
                  <a:avLst/>
                  <a:gdLst>
                    <a:gd name="T0" fmla="*/ 38 w 173"/>
                    <a:gd name="T1" fmla="*/ 102 h 151"/>
                    <a:gd name="T2" fmla="*/ 46 w 173"/>
                    <a:gd name="T3" fmla="*/ 106 h 151"/>
                    <a:gd name="T4" fmla="*/ 50 w 173"/>
                    <a:gd name="T5" fmla="*/ 105 h 151"/>
                    <a:gd name="T6" fmla="*/ 55 w 173"/>
                    <a:gd name="T7" fmla="*/ 101 h 151"/>
                    <a:gd name="T8" fmla="*/ 82 w 173"/>
                    <a:gd name="T9" fmla="*/ 108 h 151"/>
                    <a:gd name="T10" fmla="*/ 64 w 173"/>
                    <a:gd name="T11" fmla="*/ 119 h 151"/>
                    <a:gd name="T12" fmla="*/ 62 w 173"/>
                    <a:gd name="T13" fmla="*/ 124 h 151"/>
                    <a:gd name="T14" fmla="*/ 64 w 173"/>
                    <a:gd name="T15" fmla="*/ 129 h 151"/>
                    <a:gd name="T16" fmla="*/ 69 w 173"/>
                    <a:gd name="T17" fmla="*/ 132 h 151"/>
                    <a:gd name="T18" fmla="*/ 140 w 173"/>
                    <a:gd name="T19" fmla="*/ 151 h 151"/>
                    <a:gd name="T20" fmla="*/ 145 w 173"/>
                    <a:gd name="T21" fmla="*/ 151 h 151"/>
                    <a:gd name="T22" fmla="*/ 151 w 173"/>
                    <a:gd name="T23" fmla="*/ 149 h 151"/>
                    <a:gd name="T24" fmla="*/ 155 w 173"/>
                    <a:gd name="T25" fmla="*/ 144 h 151"/>
                    <a:gd name="T26" fmla="*/ 164 w 173"/>
                    <a:gd name="T27" fmla="*/ 106 h 151"/>
                    <a:gd name="T28" fmla="*/ 173 w 173"/>
                    <a:gd name="T29" fmla="*/ 73 h 151"/>
                    <a:gd name="T30" fmla="*/ 173 w 173"/>
                    <a:gd name="T31" fmla="*/ 69 h 151"/>
                    <a:gd name="T32" fmla="*/ 171 w 173"/>
                    <a:gd name="T33" fmla="*/ 63 h 151"/>
                    <a:gd name="T34" fmla="*/ 166 w 173"/>
                    <a:gd name="T35" fmla="*/ 60 h 151"/>
                    <a:gd name="T36" fmla="*/ 159 w 173"/>
                    <a:gd name="T37" fmla="*/ 62 h 151"/>
                    <a:gd name="T38" fmla="*/ 107 w 173"/>
                    <a:gd name="T39" fmla="*/ 5 h 151"/>
                    <a:gd name="T40" fmla="*/ 104 w 173"/>
                    <a:gd name="T41" fmla="*/ 1 h 151"/>
                    <a:gd name="T42" fmla="*/ 99 w 173"/>
                    <a:gd name="T43" fmla="*/ 0 h 151"/>
                    <a:gd name="T44" fmla="*/ 95 w 173"/>
                    <a:gd name="T45" fmla="*/ 1 h 151"/>
                    <a:gd name="T46" fmla="*/ 73 w 173"/>
                    <a:gd name="T47" fmla="*/ 6 h 151"/>
                    <a:gd name="T48" fmla="*/ 49 w 173"/>
                    <a:gd name="T49" fmla="*/ 12 h 151"/>
                    <a:gd name="T50" fmla="*/ 40 w 173"/>
                    <a:gd name="T51" fmla="*/ 15 h 151"/>
                    <a:gd name="T52" fmla="*/ 35 w 173"/>
                    <a:gd name="T53" fmla="*/ 20 h 151"/>
                    <a:gd name="T54" fmla="*/ 1 w 173"/>
                    <a:gd name="T55" fmla="*/ 64 h 151"/>
                    <a:gd name="T56" fmla="*/ 0 w 173"/>
                    <a:gd name="T57" fmla="*/ 72 h 151"/>
                    <a:gd name="T58" fmla="*/ 2 w 173"/>
                    <a:gd name="T59" fmla="*/ 77 h 151"/>
                    <a:gd name="T60" fmla="*/ 145 w 173"/>
                    <a:gd name="T61" fmla="*/ 140 h 151"/>
                    <a:gd name="T62" fmla="*/ 144 w 173"/>
                    <a:gd name="T63" fmla="*/ 140 h 151"/>
                    <a:gd name="T64" fmla="*/ 145 w 173"/>
                    <a:gd name="T65" fmla="*/ 1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3" h="151">
                      <a:moveTo>
                        <a:pt x="4" y="78"/>
                      </a:moveTo>
                      <a:lnTo>
                        <a:pt x="38" y="102"/>
                      </a:lnTo>
                      <a:lnTo>
                        <a:pt x="42" y="105"/>
                      </a:lnTo>
                      <a:lnTo>
                        <a:pt x="46" y="106"/>
                      </a:lnTo>
                      <a:lnTo>
                        <a:pt x="48" y="106"/>
                      </a:lnTo>
                      <a:lnTo>
                        <a:pt x="50" y="105"/>
                      </a:lnTo>
                      <a:lnTo>
                        <a:pt x="53" y="103"/>
                      </a:lnTo>
                      <a:lnTo>
                        <a:pt x="55" y="101"/>
                      </a:lnTo>
                      <a:lnTo>
                        <a:pt x="67" y="82"/>
                      </a:lnTo>
                      <a:lnTo>
                        <a:pt x="82" y="108"/>
                      </a:lnTo>
                      <a:lnTo>
                        <a:pt x="67" y="117"/>
                      </a:lnTo>
                      <a:lnTo>
                        <a:pt x="64" y="119"/>
                      </a:lnTo>
                      <a:lnTo>
                        <a:pt x="63" y="122"/>
                      </a:lnTo>
                      <a:lnTo>
                        <a:pt x="62" y="124"/>
                      </a:lnTo>
                      <a:lnTo>
                        <a:pt x="62" y="125"/>
                      </a:lnTo>
                      <a:lnTo>
                        <a:pt x="64" y="129"/>
                      </a:lnTo>
                      <a:lnTo>
                        <a:pt x="66" y="131"/>
                      </a:lnTo>
                      <a:lnTo>
                        <a:pt x="69" y="132"/>
                      </a:lnTo>
                      <a:lnTo>
                        <a:pt x="71" y="133"/>
                      </a:lnTo>
                      <a:lnTo>
                        <a:pt x="140" y="151"/>
                      </a:lnTo>
                      <a:lnTo>
                        <a:pt x="141" y="151"/>
                      </a:lnTo>
                      <a:lnTo>
                        <a:pt x="145" y="151"/>
                      </a:lnTo>
                      <a:lnTo>
                        <a:pt x="148" y="151"/>
                      </a:lnTo>
                      <a:lnTo>
                        <a:pt x="151" y="149"/>
                      </a:lnTo>
                      <a:lnTo>
                        <a:pt x="153" y="147"/>
                      </a:lnTo>
                      <a:lnTo>
                        <a:pt x="155" y="144"/>
                      </a:lnTo>
                      <a:lnTo>
                        <a:pt x="158" y="130"/>
                      </a:lnTo>
                      <a:lnTo>
                        <a:pt x="164" y="106"/>
                      </a:lnTo>
                      <a:lnTo>
                        <a:pt x="170" y="84"/>
                      </a:lnTo>
                      <a:lnTo>
                        <a:pt x="173" y="73"/>
                      </a:lnTo>
                      <a:lnTo>
                        <a:pt x="173" y="71"/>
                      </a:lnTo>
                      <a:lnTo>
                        <a:pt x="173" y="69"/>
                      </a:lnTo>
                      <a:lnTo>
                        <a:pt x="173" y="66"/>
                      </a:lnTo>
                      <a:lnTo>
                        <a:pt x="171" y="63"/>
                      </a:lnTo>
                      <a:lnTo>
                        <a:pt x="169" y="61"/>
                      </a:lnTo>
                      <a:lnTo>
                        <a:pt x="166" y="60"/>
                      </a:lnTo>
                      <a:lnTo>
                        <a:pt x="163" y="61"/>
                      </a:lnTo>
                      <a:lnTo>
                        <a:pt x="159" y="62"/>
                      </a:lnTo>
                      <a:lnTo>
                        <a:pt x="146" y="70"/>
                      </a:lnTo>
                      <a:lnTo>
                        <a:pt x="107" y="5"/>
                      </a:lnTo>
                      <a:lnTo>
                        <a:pt x="106" y="3"/>
                      </a:lnTo>
                      <a:lnTo>
                        <a:pt x="104" y="1"/>
                      </a:lnTo>
                      <a:lnTo>
                        <a:pt x="102" y="0"/>
                      </a:lnTo>
                      <a:lnTo>
                        <a:pt x="99" y="0"/>
                      </a:lnTo>
                      <a:lnTo>
                        <a:pt x="97" y="0"/>
                      </a:lnTo>
                      <a:lnTo>
                        <a:pt x="95" y="1"/>
                      </a:lnTo>
                      <a:lnTo>
                        <a:pt x="86" y="3"/>
                      </a:lnTo>
                      <a:lnTo>
                        <a:pt x="73" y="6"/>
                      </a:lnTo>
                      <a:lnTo>
                        <a:pt x="59" y="9"/>
                      </a:lnTo>
                      <a:lnTo>
                        <a:pt x="49" y="12"/>
                      </a:lnTo>
                      <a:lnTo>
                        <a:pt x="43" y="13"/>
                      </a:lnTo>
                      <a:lnTo>
                        <a:pt x="40" y="15"/>
                      </a:lnTo>
                      <a:lnTo>
                        <a:pt x="37" y="17"/>
                      </a:lnTo>
                      <a:lnTo>
                        <a:pt x="35" y="20"/>
                      </a:lnTo>
                      <a:lnTo>
                        <a:pt x="3" y="61"/>
                      </a:lnTo>
                      <a:lnTo>
                        <a:pt x="1" y="64"/>
                      </a:lnTo>
                      <a:lnTo>
                        <a:pt x="0" y="70"/>
                      </a:lnTo>
                      <a:lnTo>
                        <a:pt x="0" y="72"/>
                      </a:lnTo>
                      <a:lnTo>
                        <a:pt x="1" y="74"/>
                      </a:lnTo>
                      <a:lnTo>
                        <a:pt x="2" y="77"/>
                      </a:lnTo>
                      <a:lnTo>
                        <a:pt x="4" y="78"/>
                      </a:lnTo>
                      <a:close/>
                      <a:moveTo>
                        <a:pt x="145" y="140"/>
                      </a:moveTo>
                      <a:lnTo>
                        <a:pt x="145" y="146"/>
                      </a:lnTo>
                      <a:lnTo>
                        <a:pt x="144" y="140"/>
                      </a:lnTo>
                      <a:lnTo>
                        <a:pt x="145" y="140"/>
                      </a:lnTo>
                      <a:lnTo>
                        <a:pt x="145" y="140"/>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4" name="Freeform 377">
                  <a:extLst>
                    <a:ext uri="{FF2B5EF4-FFF2-40B4-BE49-F238E27FC236}">
                      <a16:creationId xmlns:a16="http://schemas.microsoft.com/office/drawing/2014/main" id="{EB43637D-BCEB-467D-A308-A0858DB4ACD1}"/>
                    </a:ext>
                  </a:extLst>
                </p:cNvPr>
                <p:cNvSpPr>
                  <a:spLocks noEditPoints="1"/>
                </p:cNvSpPr>
                <p:nvPr/>
              </p:nvSpPr>
              <p:spPr bwMode="auto">
                <a:xfrm>
                  <a:off x="6318256" y="5638850"/>
                  <a:ext cx="68263" cy="92075"/>
                </a:xfrm>
                <a:custGeom>
                  <a:avLst/>
                  <a:gdLst>
                    <a:gd name="T0" fmla="*/ 102 w 128"/>
                    <a:gd name="T1" fmla="*/ 8 h 173"/>
                    <a:gd name="T2" fmla="*/ 100 w 128"/>
                    <a:gd name="T3" fmla="*/ 5 h 173"/>
                    <a:gd name="T4" fmla="*/ 97 w 128"/>
                    <a:gd name="T5" fmla="*/ 2 h 173"/>
                    <a:gd name="T6" fmla="*/ 95 w 128"/>
                    <a:gd name="T7" fmla="*/ 1 h 173"/>
                    <a:gd name="T8" fmla="*/ 93 w 128"/>
                    <a:gd name="T9" fmla="*/ 0 h 173"/>
                    <a:gd name="T10" fmla="*/ 91 w 128"/>
                    <a:gd name="T11" fmla="*/ 0 h 173"/>
                    <a:gd name="T12" fmla="*/ 88 w 128"/>
                    <a:gd name="T13" fmla="*/ 1 h 173"/>
                    <a:gd name="T14" fmla="*/ 75 w 128"/>
                    <a:gd name="T15" fmla="*/ 6 h 173"/>
                    <a:gd name="T16" fmla="*/ 51 w 128"/>
                    <a:gd name="T17" fmla="*/ 14 h 173"/>
                    <a:gd name="T18" fmla="*/ 30 w 128"/>
                    <a:gd name="T19" fmla="*/ 23 h 173"/>
                    <a:gd name="T20" fmla="*/ 20 w 128"/>
                    <a:gd name="T21" fmla="*/ 26 h 173"/>
                    <a:gd name="T22" fmla="*/ 18 w 128"/>
                    <a:gd name="T23" fmla="*/ 27 h 173"/>
                    <a:gd name="T24" fmla="*/ 16 w 128"/>
                    <a:gd name="T25" fmla="*/ 29 h 173"/>
                    <a:gd name="T26" fmla="*/ 13 w 128"/>
                    <a:gd name="T27" fmla="*/ 31 h 173"/>
                    <a:gd name="T28" fmla="*/ 12 w 128"/>
                    <a:gd name="T29" fmla="*/ 35 h 173"/>
                    <a:gd name="T30" fmla="*/ 13 w 128"/>
                    <a:gd name="T31" fmla="*/ 37 h 173"/>
                    <a:gd name="T32" fmla="*/ 13 w 128"/>
                    <a:gd name="T33" fmla="*/ 39 h 173"/>
                    <a:gd name="T34" fmla="*/ 15 w 128"/>
                    <a:gd name="T35" fmla="*/ 41 h 173"/>
                    <a:gd name="T36" fmla="*/ 19 w 128"/>
                    <a:gd name="T37" fmla="*/ 44 h 173"/>
                    <a:gd name="T38" fmla="*/ 33 w 128"/>
                    <a:gd name="T39" fmla="*/ 50 h 173"/>
                    <a:gd name="T40" fmla="*/ 1 w 128"/>
                    <a:gd name="T41" fmla="*/ 119 h 173"/>
                    <a:gd name="T42" fmla="*/ 0 w 128"/>
                    <a:gd name="T43" fmla="*/ 122 h 173"/>
                    <a:gd name="T44" fmla="*/ 0 w 128"/>
                    <a:gd name="T45" fmla="*/ 126 h 173"/>
                    <a:gd name="T46" fmla="*/ 2 w 128"/>
                    <a:gd name="T47" fmla="*/ 129 h 173"/>
                    <a:gd name="T48" fmla="*/ 5 w 128"/>
                    <a:gd name="T49" fmla="*/ 131 h 173"/>
                    <a:gd name="T50" fmla="*/ 12 w 128"/>
                    <a:gd name="T51" fmla="*/ 137 h 173"/>
                    <a:gd name="T52" fmla="*/ 22 w 128"/>
                    <a:gd name="T53" fmla="*/ 146 h 173"/>
                    <a:gd name="T54" fmla="*/ 39 w 128"/>
                    <a:gd name="T55" fmla="*/ 163 h 173"/>
                    <a:gd name="T56" fmla="*/ 47 w 128"/>
                    <a:gd name="T57" fmla="*/ 169 h 173"/>
                    <a:gd name="T58" fmla="*/ 50 w 128"/>
                    <a:gd name="T59" fmla="*/ 170 h 173"/>
                    <a:gd name="T60" fmla="*/ 52 w 128"/>
                    <a:gd name="T61" fmla="*/ 170 h 173"/>
                    <a:gd name="T62" fmla="*/ 53 w 128"/>
                    <a:gd name="T63" fmla="*/ 170 h 173"/>
                    <a:gd name="T64" fmla="*/ 55 w 128"/>
                    <a:gd name="T65" fmla="*/ 170 h 173"/>
                    <a:gd name="T66" fmla="*/ 106 w 128"/>
                    <a:gd name="T67" fmla="*/ 173 h 173"/>
                    <a:gd name="T68" fmla="*/ 108 w 128"/>
                    <a:gd name="T69" fmla="*/ 173 h 173"/>
                    <a:gd name="T70" fmla="*/ 112 w 128"/>
                    <a:gd name="T71" fmla="*/ 173 h 173"/>
                    <a:gd name="T72" fmla="*/ 116 w 128"/>
                    <a:gd name="T73" fmla="*/ 170 h 173"/>
                    <a:gd name="T74" fmla="*/ 118 w 128"/>
                    <a:gd name="T75" fmla="*/ 167 h 173"/>
                    <a:gd name="T76" fmla="*/ 119 w 128"/>
                    <a:gd name="T77" fmla="*/ 163 h 173"/>
                    <a:gd name="T78" fmla="*/ 119 w 128"/>
                    <a:gd name="T79" fmla="*/ 120 h 173"/>
                    <a:gd name="T80" fmla="*/ 119 w 128"/>
                    <a:gd name="T81" fmla="*/ 116 h 173"/>
                    <a:gd name="T82" fmla="*/ 116 w 128"/>
                    <a:gd name="T83" fmla="*/ 111 h 173"/>
                    <a:gd name="T84" fmla="*/ 114 w 128"/>
                    <a:gd name="T85" fmla="*/ 109 h 173"/>
                    <a:gd name="T86" fmla="*/ 109 w 128"/>
                    <a:gd name="T87" fmla="*/ 108 h 173"/>
                    <a:gd name="T88" fmla="*/ 87 w 128"/>
                    <a:gd name="T89" fmla="*/ 108 h 173"/>
                    <a:gd name="T90" fmla="*/ 100 w 128"/>
                    <a:gd name="T91" fmla="*/ 81 h 173"/>
                    <a:gd name="T92" fmla="*/ 116 w 128"/>
                    <a:gd name="T93" fmla="*/ 88 h 173"/>
                    <a:gd name="T94" fmla="*/ 118 w 128"/>
                    <a:gd name="T95" fmla="*/ 89 h 173"/>
                    <a:gd name="T96" fmla="*/ 121 w 128"/>
                    <a:gd name="T97" fmla="*/ 89 h 173"/>
                    <a:gd name="T98" fmla="*/ 124 w 128"/>
                    <a:gd name="T99" fmla="*/ 89 h 173"/>
                    <a:gd name="T100" fmla="*/ 127 w 128"/>
                    <a:gd name="T101" fmla="*/ 86 h 173"/>
                    <a:gd name="T102" fmla="*/ 128 w 128"/>
                    <a:gd name="T103" fmla="*/ 83 h 173"/>
                    <a:gd name="T104" fmla="*/ 128 w 128"/>
                    <a:gd name="T105" fmla="*/ 81 h 173"/>
                    <a:gd name="T106" fmla="*/ 128 w 128"/>
                    <a:gd name="T107" fmla="*/ 78 h 173"/>
                    <a:gd name="T108" fmla="*/ 127 w 128"/>
                    <a:gd name="T109" fmla="*/ 76 h 173"/>
                    <a:gd name="T110" fmla="*/ 102 w 128"/>
                    <a:gd name="T111" fmla="*/ 8 h 173"/>
                    <a:gd name="T112" fmla="*/ 108 w 128"/>
                    <a:gd name="T113" fmla="*/ 162 h 173"/>
                    <a:gd name="T114" fmla="*/ 108 w 128"/>
                    <a:gd name="T115" fmla="*/ 168 h 173"/>
                    <a:gd name="T116" fmla="*/ 107 w 128"/>
                    <a:gd name="T117" fmla="*/ 162 h 173"/>
                    <a:gd name="T118" fmla="*/ 108 w 128"/>
                    <a:gd name="T119" fmla="*/ 162 h 173"/>
                    <a:gd name="T120" fmla="*/ 108 w 128"/>
                    <a:gd name="T121" fmla="*/ 16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73">
                      <a:moveTo>
                        <a:pt x="102" y="8"/>
                      </a:moveTo>
                      <a:lnTo>
                        <a:pt x="100" y="5"/>
                      </a:lnTo>
                      <a:lnTo>
                        <a:pt x="97" y="2"/>
                      </a:lnTo>
                      <a:lnTo>
                        <a:pt x="95" y="1"/>
                      </a:lnTo>
                      <a:lnTo>
                        <a:pt x="93" y="0"/>
                      </a:lnTo>
                      <a:lnTo>
                        <a:pt x="91" y="0"/>
                      </a:lnTo>
                      <a:lnTo>
                        <a:pt x="88" y="1"/>
                      </a:lnTo>
                      <a:lnTo>
                        <a:pt x="75" y="6"/>
                      </a:lnTo>
                      <a:lnTo>
                        <a:pt x="51" y="14"/>
                      </a:lnTo>
                      <a:lnTo>
                        <a:pt x="30" y="23"/>
                      </a:lnTo>
                      <a:lnTo>
                        <a:pt x="20" y="26"/>
                      </a:lnTo>
                      <a:lnTo>
                        <a:pt x="18" y="27"/>
                      </a:lnTo>
                      <a:lnTo>
                        <a:pt x="16" y="29"/>
                      </a:lnTo>
                      <a:lnTo>
                        <a:pt x="13" y="31"/>
                      </a:lnTo>
                      <a:lnTo>
                        <a:pt x="12" y="35"/>
                      </a:lnTo>
                      <a:lnTo>
                        <a:pt x="13" y="37"/>
                      </a:lnTo>
                      <a:lnTo>
                        <a:pt x="13" y="39"/>
                      </a:lnTo>
                      <a:lnTo>
                        <a:pt x="15" y="41"/>
                      </a:lnTo>
                      <a:lnTo>
                        <a:pt x="19" y="44"/>
                      </a:lnTo>
                      <a:lnTo>
                        <a:pt x="33" y="50"/>
                      </a:lnTo>
                      <a:lnTo>
                        <a:pt x="1" y="119"/>
                      </a:lnTo>
                      <a:lnTo>
                        <a:pt x="0" y="122"/>
                      </a:lnTo>
                      <a:lnTo>
                        <a:pt x="0" y="126"/>
                      </a:lnTo>
                      <a:lnTo>
                        <a:pt x="2" y="129"/>
                      </a:lnTo>
                      <a:lnTo>
                        <a:pt x="5" y="131"/>
                      </a:lnTo>
                      <a:lnTo>
                        <a:pt x="12" y="137"/>
                      </a:lnTo>
                      <a:lnTo>
                        <a:pt x="22" y="146"/>
                      </a:lnTo>
                      <a:lnTo>
                        <a:pt x="39" y="163"/>
                      </a:lnTo>
                      <a:lnTo>
                        <a:pt x="47" y="169"/>
                      </a:lnTo>
                      <a:lnTo>
                        <a:pt x="50" y="170"/>
                      </a:lnTo>
                      <a:lnTo>
                        <a:pt x="52" y="170"/>
                      </a:lnTo>
                      <a:lnTo>
                        <a:pt x="53" y="170"/>
                      </a:lnTo>
                      <a:lnTo>
                        <a:pt x="55" y="170"/>
                      </a:lnTo>
                      <a:lnTo>
                        <a:pt x="106" y="173"/>
                      </a:lnTo>
                      <a:lnTo>
                        <a:pt x="108" y="173"/>
                      </a:lnTo>
                      <a:lnTo>
                        <a:pt x="112" y="173"/>
                      </a:lnTo>
                      <a:lnTo>
                        <a:pt x="116" y="170"/>
                      </a:lnTo>
                      <a:lnTo>
                        <a:pt x="118" y="167"/>
                      </a:lnTo>
                      <a:lnTo>
                        <a:pt x="119" y="163"/>
                      </a:lnTo>
                      <a:lnTo>
                        <a:pt x="119" y="120"/>
                      </a:lnTo>
                      <a:lnTo>
                        <a:pt x="119" y="116"/>
                      </a:lnTo>
                      <a:lnTo>
                        <a:pt x="116" y="111"/>
                      </a:lnTo>
                      <a:lnTo>
                        <a:pt x="114" y="109"/>
                      </a:lnTo>
                      <a:lnTo>
                        <a:pt x="109" y="108"/>
                      </a:lnTo>
                      <a:lnTo>
                        <a:pt x="87" y="108"/>
                      </a:lnTo>
                      <a:lnTo>
                        <a:pt x="100" y="81"/>
                      </a:lnTo>
                      <a:lnTo>
                        <a:pt x="116" y="88"/>
                      </a:lnTo>
                      <a:lnTo>
                        <a:pt x="118" y="89"/>
                      </a:lnTo>
                      <a:lnTo>
                        <a:pt x="121" y="89"/>
                      </a:lnTo>
                      <a:lnTo>
                        <a:pt x="124" y="89"/>
                      </a:lnTo>
                      <a:lnTo>
                        <a:pt x="127" y="86"/>
                      </a:lnTo>
                      <a:lnTo>
                        <a:pt x="128" y="83"/>
                      </a:lnTo>
                      <a:lnTo>
                        <a:pt x="128" y="81"/>
                      </a:lnTo>
                      <a:lnTo>
                        <a:pt x="128" y="78"/>
                      </a:lnTo>
                      <a:lnTo>
                        <a:pt x="127" y="76"/>
                      </a:lnTo>
                      <a:lnTo>
                        <a:pt x="102" y="8"/>
                      </a:lnTo>
                      <a:close/>
                      <a:moveTo>
                        <a:pt x="108" y="162"/>
                      </a:moveTo>
                      <a:lnTo>
                        <a:pt x="108" y="168"/>
                      </a:lnTo>
                      <a:lnTo>
                        <a:pt x="107" y="162"/>
                      </a:lnTo>
                      <a:lnTo>
                        <a:pt x="108" y="162"/>
                      </a:lnTo>
                      <a:lnTo>
                        <a:pt x="108" y="162"/>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5" name="Freeform 378">
                  <a:extLst>
                    <a:ext uri="{FF2B5EF4-FFF2-40B4-BE49-F238E27FC236}">
                      <a16:creationId xmlns:a16="http://schemas.microsoft.com/office/drawing/2014/main" id="{32CEB288-803E-4534-BC7F-DD305D9611CC}"/>
                    </a:ext>
                  </a:extLst>
                </p:cNvPr>
                <p:cNvSpPr>
                  <a:spLocks noEditPoints="1"/>
                </p:cNvSpPr>
                <p:nvPr/>
              </p:nvSpPr>
              <p:spPr bwMode="auto">
                <a:xfrm>
                  <a:off x="6248406" y="5521371"/>
                  <a:ext cx="496889" cy="503242"/>
                </a:xfrm>
                <a:custGeom>
                  <a:avLst/>
                  <a:gdLst>
                    <a:gd name="T0" fmla="*/ 794 w 941"/>
                    <a:gd name="T1" fmla="*/ 212 h 951"/>
                    <a:gd name="T2" fmla="*/ 728 w 941"/>
                    <a:gd name="T3" fmla="*/ 206 h 951"/>
                    <a:gd name="T4" fmla="*/ 694 w 941"/>
                    <a:gd name="T5" fmla="*/ 220 h 951"/>
                    <a:gd name="T6" fmla="*/ 670 w 941"/>
                    <a:gd name="T7" fmla="*/ 230 h 951"/>
                    <a:gd name="T8" fmla="*/ 641 w 941"/>
                    <a:gd name="T9" fmla="*/ 228 h 951"/>
                    <a:gd name="T10" fmla="*/ 603 w 941"/>
                    <a:gd name="T11" fmla="*/ 206 h 951"/>
                    <a:gd name="T12" fmla="*/ 589 w 941"/>
                    <a:gd name="T13" fmla="*/ 39 h 951"/>
                    <a:gd name="T14" fmla="*/ 575 w 941"/>
                    <a:gd name="T15" fmla="*/ 17 h 951"/>
                    <a:gd name="T16" fmla="*/ 552 w 941"/>
                    <a:gd name="T17" fmla="*/ 2 h 951"/>
                    <a:gd name="T18" fmla="*/ 50 w 941"/>
                    <a:gd name="T19" fmla="*/ 0 h 951"/>
                    <a:gd name="T20" fmla="*/ 25 w 941"/>
                    <a:gd name="T21" fmla="*/ 9 h 951"/>
                    <a:gd name="T22" fmla="*/ 8 w 941"/>
                    <a:gd name="T23" fmla="*/ 30 h 951"/>
                    <a:gd name="T24" fmla="*/ 0 w 941"/>
                    <a:gd name="T25" fmla="*/ 56 h 951"/>
                    <a:gd name="T26" fmla="*/ 5 w 941"/>
                    <a:gd name="T27" fmla="*/ 517 h 951"/>
                    <a:gd name="T28" fmla="*/ 21 w 941"/>
                    <a:gd name="T29" fmla="*/ 538 h 951"/>
                    <a:gd name="T30" fmla="*/ 45 w 941"/>
                    <a:gd name="T31" fmla="*/ 549 h 951"/>
                    <a:gd name="T32" fmla="*/ 546 w 941"/>
                    <a:gd name="T33" fmla="*/ 549 h 951"/>
                    <a:gd name="T34" fmla="*/ 571 w 941"/>
                    <a:gd name="T35" fmla="*/ 538 h 951"/>
                    <a:gd name="T36" fmla="*/ 587 w 941"/>
                    <a:gd name="T37" fmla="*/ 517 h 951"/>
                    <a:gd name="T38" fmla="*/ 591 w 941"/>
                    <a:gd name="T39" fmla="*/ 289 h 951"/>
                    <a:gd name="T40" fmla="*/ 643 w 941"/>
                    <a:gd name="T41" fmla="*/ 306 h 951"/>
                    <a:gd name="T42" fmla="*/ 655 w 941"/>
                    <a:gd name="T43" fmla="*/ 529 h 951"/>
                    <a:gd name="T44" fmla="*/ 658 w 941"/>
                    <a:gd name="T45" fmla="*/ 914 h 951"/>
                    <a:gd name="T46" fmla="*/ 684 w 941"/>
                    <a:gd name="T47" fmla="*/ 947 h 951"/>
                    <a:gd name="T48" fmla="*/ 726 w 941"/>
                    <a:gd name="T49" fmla="*/ 943 h 951"/>
                    <a:gd name="T50" fmla="*/ 747 w 941"/>
                    <a:gd name="T51" fmla="*/ 905 h 951"/>
                    <a:gd name="T52" fmla="*/ 753 w 941"/>
                    <a:gd name="T53" fmla="*/ 593 h 951"/>
                    <a:gd name="T54" fmla="*/ 766 w 941"/>
                    <a:gd name="T55" fmla="*/ 938 h 951"/>
                    <a:gd name="T56" fmla="*/ 798 w 941"/>
                    <a:gd name="T57" fmla="*/ 951 h 951"/>
                    <a:gd name="T58" fmla="*/ 829 w 941"/>
                    <a:gd name="T59" fmla="*/ 938 h 951"/>
                    <a:gd name="T60" fmla="*/ 843 w 941"/>
                    <a:gd name="T61" fmla="*/ 548 h 951"/>
                    <a:gd name="T62" fmla="*/ 864 w 941"/>
                    <a:gd name="T63" fmla="*/ 558 h 951"/>
                    <a:gd name="T64" fmla="*/ 888 w 941"/>
                    <a:gd name="T65" fmla="*/ 553 h 951"/>
                    <a:gd name="T66" fmla="*/ 911 w 941"/>
                    <a:gd name="T67" fmla="*/ 521 h 951"/>
                    <a:gd name="T68" fmla="*/ 939 w 941"/>
                    <a:gd name="T69" fmla="*/ 439 h 951"/>
                    <a:gd name="T70" fmla="*/ 938 w 941"/>
                    <a:gd name="T71" fmla="*/ 372 h 951"/>
                    <a:gd name="T72" fmla="*/ 917 w 941"/>
                    <a:gd name="T73" fmla="*/ 318 h 951"/>
                    <a:gd name="T74" fmla="*/ 878 w 941"/>
                    <a:gd name="T75" fmla="*/ 269 h 951"/>
                    <a:gd name="T76" fmla="*/ 815 w 941"/>
                    <a:gd name="T77" fmla="*/ 223 h 951"/>
                    <a:gd name="T78" fmla="*/ 548 w 941"/>
                    <a:gd name="T79" fmla="*/ 509 h 951"/>
                    <a:gd name="T80" fmla="*/ 56 w 941"/>
                    <a:gd name="T81" fmla="*/ 514 h 951"/>
                    <a:gd name="T82" fmla="*/ 41 w 941"/>
                    <a:gd name="T83" fmla="*/ 506 h 951"/>
                    <a:gd name="T84" fmla="*/ 38 w 941"/>
                    <a:gd name="T85" fmla="*/ 52 h 951"/>
                    <a:gd name="T86" fmla="*/ 49 w 941"/>
                    <a:gd name="T87" fmla="*/ 39 h 951"/>
                    <a:gd name="T88" fmla="*/ 542 w 941"/>
                    <a:gd name="T89" fmla="*/ 39 h 951"/>
                    <a:gd name="T90" fmla="*/ 553 w 941"/>
                    <a:gd name="T91" fmla="*/ 52 h 951"/>
                    <a:gd name="T92" fmla="*/ 531 w 941"/>
                    <a:gd name="T93" fmla="*/ 112 h 951"/>
                    <a:gd name="T94" fmla="*/ 509 w 941"/>
                    <a:gd name="T95" fmla="*/ 85 h 951"/>
                    <a:gd name="T96" fmla="*/ 476 w 941"/>
                    <a:gd name="T97" fmla="*/ 85 h 951"/>
                    <a:gd name="T98" fmla="*/ 454 w 941"/>
                    <a:gd name="T99" fmla="*/ 114 h 951"/>
                    <a:gd name="T100" fmla="*/ 466 w 941"/>
                    <a:gd name="T101" fmla="*/ 151 h 951"/>
                    <a:gd name="T102" fmla="*/ 519 w 941"/>
                    <a:gd name="T103" fmla="*/ 228 h 951"/>
                    <a:gd name="T104" fmla="*/ 752 w 941"/>
                    <a:gd name="T105" fmla="*/ 424 h 951"/>
                    <a:gd name="T106" fmla="*/ 752 w 941"/>
                    <a:gd name="T107" fmla="*/ 424 h 951"/>
                    <a:gd name="T108" fmla="*/ 863 w 941"/>
                    <a:gd name="T109" fmla="*/ 393 h 951"/>
                    <a:gd name="T110" fmla="*/ 852 w 941"/>
                    <a:gd name="T111" fmla="*/ 467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41" h="951">
                      <a:moveTo>
                        <a:pt x="815" y="223"/>
                      </a:moveTo>
                      <a:lnTo>
                        <a:pt x="813" y="222"/>
                      </a:lnTo>
                      <a:lnTo>
                        <a:pt x="811" y="221"/>
                      </a:lnTo>
                      <a:lnTo>
                        <a:pt x="803" y="216"/>
                      </a:lnTo>
                      <a:lnTo>
                        <a:pt x="794" y="212"/>
                      </a:lnTo>
                      <a:lnTo>
                        <a:pt x="785" y="209"/>
                      </a:lnTo>
                      <a:lnTo>
                        <a:pt x="776" y="206"/>
                      </a:lnTo>
                      <a:lnTo>
                        <a:pt x="752" y="230"/>
                      </a:lnTo>
                      <a:lnTo>
                        <a:pt x="728" y="206"/>
                      </a:lnTo>
                      <a:lnTo>
                        <a:pt x="728" y="206"/>
                      </a:lnTo>
                      <a:lnTo>
                        <a:pt x="728" y="206"/>
                      </a:lnTo>
                      <a:lnTo>
                        <a:pt x="719" y="208"/>
                      </a:lnTo>
                      <a:lnTo>
                        <a:pt x="710" y="211"/>
                      </a:lnTo>
                      <a:lnTo>
                        <a:pt x="702" y="215"/>
                      </a:lnTo>
                      <a:lnTo>
                        <a:pt x="694" y="220"/>
                      </a:lnTo>
                      <a:lnTo>
                        <a:pt x="691" y="221"/>
                      </a:lnTo>
                      <a:lnTo>
                        <a:pt x="687" y="223"/>
                      </a:lnTo>
                      <a:lnTo>
                        <a:pt x="681" y="226"/>
                      </a:lnTo>
                      <a:lnTo>
                        <a:pt x="676" y="228"/>
                      </a:lnTo>
                      <a:lnTo>
                        <a:pt x="670" y="230"/>
                      </a:lnTo>
                      <a:lnTo>
                        <a:pt x="665" y="231"/>
                      </a:lnTo>
                      <a:lnTo>
                        <a:pt x="659" y="231"/>
                      </a:lnTo>
                      <a:lnTo>
                        <a:pt x="653" y="231"/>
                      </a:lnTo>
                      <a:lnTo>
                        <a:pt x="648" y="230"/>
                      </a:lnTo>
                      <a:lnTo>
                        <a:pt x="641" y="228"/>
                      </a:lnTo>
                      <a:lnTo>
                        <a:pt x="634" y="226"/>
                      </a:lnTo>
                      <a:lnTo>
                        <a:pt x="628" y="223"/>
                      </a:lnTo>
                      <a:lnTo>
                        <a:pt x="622" y="219"/>
                      </a:lnTo>
                      <a:lnTo>
                        <a:pt x="615" y="215"/>
                      </a:lnTo>
                      <a:lnTo>
                        <a:pt x="603" y="206"/>
                      </a:lnTo>
                      <a:lnTo>
                        <a:pt x="591" y="194"/>
                      </a:lnTo>
                      <a:lnTo>
                        <a:pt x="591" y="56"/>
                      </a:lnTo>
                      <a:lnTo>
                        <a:pt x="591" y="50"/>
                      </a:lnTo>
                      <a:lnTo>
                        <a:pt x="590" y="45"/>
                      </a:lnTo>
                      <a:lnTo>
                        <a:pt x="589" y="39"/>
                      </a:lnTo>
                      <a:lnTo>
                        <a:pt x="587" y="34"/>
                      </a:lnTo>
                      <a:lnTo>
                        <a:pt x="584" y="30"/>
                      </a:lnTo>
                      <a:lnTo>
                        <a:pt x="582" y="25"/>
                      </a:lnTo>
                      <a:lnTo>
                        <a:pt x="579" y="21"/>
                      </a:lnTo>
                      <a:lnTo>
                        <a:pt x="575" y="17"/>
                      </a:lnTo>
                      <a:lnTo>
                        <a:pt x="571" y="13"/>
                      </a:lnTo>
                      <a:lnTo>
                        <a:pt x="567" y="9"/>
                      </a:lnTo>
                      <a:lnTo>
                        <a:pt x="562" y="7"/>
                      </a:lnTo>
                      <a:lnTo>
                        <a:pt x="558" y="4"/>
                      </a:lnTo>
                      <a:lnTo>
                        <a:pt x="552" y="2"/>
                      </a:lnTo>
                      <a:lnTo>
                        <a:pt x="546" y="1"/>
                      </a:lnTo>
                      <a:lnTo>
                        <a:pt x="541" y="0"/>
                      </a:lnTo>
                      <a:lnTo>
                        <a:pt x="535" y="0"/>
                      </a:lnTo>
                      <a:lnTo>
                        <a:pt x="56" y="0"/>
                      </a:lnTo>
                      <a:lnTo>
                        <a:pt x="50" y="0"/>
                      </a:lnTo>
                      <a:lnTo>
                        <a:pt x="45" y="1"/>
                      </a:lnTo>
                      <a:lnTo>
                        <a:pt x="40" y="2"/>
                      </a:lnTo>
                      <a:lnTo>
                        <a:pt x="34" y="4"/>
                      </a:lnTo>
                      <a:lnTo>
                        <a:pt x="30" y="7"/>
                      </a:lnTo>
                      <a:lnTo>
                        <a:pt x="25" y="9"/>
                      </a:lnTo>
                      <a:lnTo>
                        <a:pt x="21" y="13"/>
                      </a:lnTo>
                      <a:lnTo>
                        <a:pt x="17" y="17"/>
                      </a:lnTo>
                      <a:lnTo>
                        <a:pt x="14" y="21"/>
                      </a:lnTo>
                      <a:lnTo>
                        <a:pt x="10" y="25"/>
                      </a:lnTo>
                      <a:lnTo>
                        <a:pt x="8" y="30"/>
                      </a:lnTo>
                      <a:lnTo>
                        <a:pt x="5" y="34"/>
                      </a:lnTo>
                      <a:lnTo>
                        <a:pt x="3" y="39"/>
                      </a:lnTo>
                      <a:lnTo>
                        <a:pt x="1" y="45"/>
                      </a:lnTo>
                      <a:lnTo>
                        <a:pt x="0" y="50"/>
                      </a:lnTo>
                      <a:lnTo>
                        <a:pt x="0" y="56"/>
                      </a:lnTo>
                      <a:lnTo>
                        <a:pt x="0" y="496"/>
                      </a:lnTo>
                      <a:lnTo>
                        <a:pt x="0" y="501"/>
                      </a:lnTo>
                      <a:lnTo>
                        <a:pt x="1" y="507"/>
                      </a:lnTo>
                      <a:lnTo>
                        <a:pt x="3" y="512"/>
                      </a:lnTo>
                      <a:lnTo>
                        <a:pt x="5" y="517"/>
                      </a:lnTo>
                      <a:lnTo>
                        <a:pt x="8" y="522"/>
                      </a:lnTo>
                      <a:lnTo>
                        <a:pt x="10" y="526"/>
                      </a:lnTo>
                      <a:lnTo>
                        <a:pt x="14" y="530"/>
                      </a:lnTo>
                      <a:lnTo>
                        <a:pt x="17" y="534"/>
                      </a:lnTo>
                      <a:lnTo>
                        <a:pt x="21" y="538"/>
                      </a:lnTo>
                      <a:lnTo>
                        <a:pt x="25" y="541"/>
                      </a:lnTo>
                      <a:lnTo>
                        <a:pt x="30" y="544"/>
                      </a:lnTo>
                      <a:lnTo>
                        <a:pt x="34" y="546"/>
                      </a:lnTo>
                      <a:lnTo>
                        <a:pt x="40" y="548"/>
                      </a:lnTo>
                      <a:lnTo>
                        <a:pt x="45" y="549"/>
                      </a:lnTo>
                      <a:lnTo>
                        <a:pt x="50" y="550"/>
                      </a:lnTo>
                      <a:lnTo>
                        <a:pt x="56" y="550"/>
                      </a:lnTo>
                      <a:lnTo>
                        <a:pt x="535" y="550"/>
                      </a:lnTo>
                      <a:lnTo>
                        <a:pt x="541" y="550"/>
                      </a:lnTo>
                      <a:lnTo>
                        <a:pt x="546" y="549"/>
                      </a:lnTo>
                      <a:lnTo>
                        <a:pt x="552" y="548"/>
                      </a:lnTo>
                      <a:lnTo>
                        <a:pt x="558" y="546"/>
                      </a:lnTo>
                      <a:lnTo>
                        <a:pt x="562" y="544"/>
                      </a:lnTo>
                      <a:lnTo>
                        <a:pt x="567" y="541"/>
                      </a:lnTo>
                      <a:lnTo>
                        <a:pt x="571" y="538"/>
                      </a:lnTo>
                      <a:lnTo>
                        <a:pt x="575" y="534"/>
                      </a:lnTo>
                      <a:lnTo>
                        <a:pt x="579" y="530"/>
                      </a:lnTo>
                      <a:lnTo>
                        <a:pt x="582" y="526"/>
                      </a:lnTo>
                      <a:lnTo>
                        <a:pt x="584" y="522"/>
                      </a:lnTo>
                      <a:lnTo>
                        <a:pt x="587" y="517"/>
                      </a:lnTo>
                      <a:lnTo>
                        <a:pt x="589" y="512"/>
                      </a:lnTo>
                      <a:lnTo>
                        <a:pt x="590" y="507"/>
                      </a:lnTo>
                      <a:lnTo>
                        <a:pt x="591" y="501"/>
                      </a:lnTo>
                      <a:lnTo>
                        <a:pt x="591" y="496"/>
                      </a:lnTo>
                      <a:lnTo>
                        <a:pt x="591" y="289"/>
                      </a:lnTo>
                      <a:lnTo>
                        <a:pt x="604" y="296"/>
                      </a:lnTo>
                      <a:lnTo>
                        <a:pt x="618" y="301"/>
                      </a:lnTo>
                      <a:lnTo>
                        <a:pt x="627" y="303"/>
                      </a:lnTo>
                      <a:lnTo>
                        <a:pt x="635" y="305"/>
                      </a:lnTo>
                      <a:lnTo>
                        <a:pt x="643" y="306"/>
                      </a:lnTo>
                      <a:lnTo>
                        <a:pt x="652" y="307"/>
                      </a:lnTo>
                      <a:lnTo>
                        <a:pt x="652" y="507"/>
                      </a:lnTo>
                      <a:lnTo>
                        <a:pt x="652" y="515"/>
                      </a:lnTo>
                      <a:lnTo>
                        <a:pt x="654" y="522"/>
                      </a:lnTo>
                      <a:lnTo>
                        <a:pt x="655" y="529"/>
                      </a:lnTo>
                      <a:lnTo>
                        <a:pt x="658" y="536"/>
                      </a:lnTo>
                      <a:lnTo>
                        <a:pt x="657" y="538"/>
                      </a:lnTo>
                      <a:lnTo>
                        <a:pt x="657" y="541"/>
                      </a:lnTo>
                      <a:lnTo>
                        <a:pt x="657" y="905"/>
                      </a:lnTo>
                      <a:lnTo>
                        <a:pt x="658" y="914"/>
                      </a:lnTo>
                      <a:lnTo>
                        <a:pt x="661" y="923"/>
                      </a:lnTo>
                      <a:lnTo>
                        <a:pt x="665" y="930"/>
                      </a:lnTo>
                      <a:lnTo>
                        <a:pt x="670" y="938"/>
                      </a:lnTo>
                      <a:lnTo>
                        <a:pt x="677" y="943"/>
                      </a:lnTo>
                      <a:lnTo>
                        <a:pt x="684" y="947"/>
                      </a:lnTo>
                      <a:lnTo>
                        <a:pt x="693" y="950"/>
                      </a:lnTo>
                      <a:lnTo>
                        <a:pt x="702" y="951"/>
                      </a:lnTo>
                      <a:lnTo>
                        <a:pt x="711" y="950"/>
                      </a:lnTo>
                      <a:lnTo>
                        <a:pt x="719" y="947"/>
                      </a:lnTo>
                      <a:lnTo>
                        <a:pt x="726" y="943"/>
                      </a:lnTo>
                      <a:lnTo>
                        <a:pt x="733" y="938"/>
                      </a:lnTo>
                      <a:lnTo>
                        <a:pt x="738" y="930"/>
                      </a:lnTo>
                      <a:lnTo>
                        <a:pt x="743" y="923"/>
                      </a:lnTo>
                      <a:lnTo>
                        <a:pt x="746" y="914"/>
                      </a:lnTo>
                      <a:lnTo>
                        <a:pt x="747" y="905"/>
                      </a:lnTo>
                      <a:lnTo>
                        <a:pt x="747" y="593"/>
                      </a:lnTo>
                      <a:lnTo>
                        <a:pt x="750" y="593"/>
                      </a:lnTo>
                      <a:lnTo>
                        <a:pt x="752" y="593"/>
                      </a:lnTo>
                      <a:lnTo>
                        <a:pt x="753" y="593"/>
                      </a:lnTo>
                      <a:lnTo>
                        <a:pt x="753" y="593"/>
                      </a:lnTo>
                      <a:lnTo>
                        <a:pt x="753" y="905"/>
                      </a:lnTo>
                      <a:lnTo>
                        <a:pt x="754" y="914"/>
                      </a:lnTo>
                      <a:lnTo>
                        <a:pt x="757" y="923"/>
                      </a:lnTo>
                      <a:lnTo>
                        <a:pt x="761" y="930"/>
                      </a:lnTo>
                      <a:lnTo>
                        <a:pt x="766" y="938"/>
                      </a:lnTo>
                      <a:lnTo>
                        <a:pt x="773" y="943"/>
                      </a:lnTo>
                      <a:lnTo>
                        <a:pt x="780" y="947"/>
                      </a:lnTo>
                      <a:lnTo>
                        <a:pt x="789" y="950"/>
                      </a:lnTo>
                      <a:lnTo>
                        <a:pt x="798" y="951"/>
                      </a:lnTo>
                      <a:lnTo>
                        <a:pt x="798" y="951"/>
                      </a:lnTo>
                      <a:lnTo>
                        <a:pt x="798" y="951"/>
                      </a:lnTo>
                      <a:lnTo>
                        <a:pt x="807" y="950"/>
                      </a:lnTo>
                      <a:lnTo>
                        <a:pt x="815" y="947"/>
                      </a:lnTo>
                      <a:lnTo>
                        <a:pt x="823" y="943"/>
                      </a:lnTo>
                      <a:lnTo>
                        <a:pt x="829" y="938"/>
                      </a:lnTo>
                      <a:lnTo>
                        <a:pt x="836" y="930"/>
                      </a:lnTo>
                      <a:lnTo>
                        <a:pt x="840" y="923"/>
                      </a:lnTo>
                      <a:lnTo>
                        <a:pt x="842" y="914"/>
                      </a:lnTo>
                      <a:lnTo>
                        <a:pt x="843" y="905"/>
                      </a:lnTo>
                      <a:lnTo>
                        <a:pt x="843" y="548"/>
                      </a:lnTo>
                      <a:lnTo>
                        <a:pt x="847" y="551"/>
                      </a:lnTo>
                      <a:lnTo>
                        <a:pt x="851" y="554"/>
                      </a:lnTo>
                      <a:lnTo>
                        <a:pt x="855" y="556"/>
                      </a:lnTo>
                      <a:lnTo>
                        <a:pt x="860" y="557"/>
                      </a:lnTo>
                      <a:lnTo>
                        <a:pt x="864" y="558"/>
                      </a:lnTo>
                      <a:lnTo>
                        <a:pt x="869" y="559"/>
                      </a:lnTo>
                      <a:lnTo>
                        <a:pt x="874" y="558"/>
                      </a:lnTo>
                      <a:lnTo>
                        <a:pt x="879" y="557"/>
                      </a:lnTo>
                      <a:lnTo>
                        <a:pt x="884" y="556"/>
                      </a:lnTo>
                      <a:lnTo>
                        <a:pt x="888" y="553"/>
                      </a:lnTo>
                      <a:lnTo>
                        <a:pt x="892" y="551"/>
                      </a:lnTo>
                      <a:lnTo>
                        <a:pt x="896" y="547"/>
                      </a:lnTo>
                      <a:lnTo>
                        <a:pt x="899" y="543"/>
                      </a:lnTo>
                      <a:lnTo>
                        <a:pt x="902" y="539"/>
                      </a:lnTo>
                      <a:lnTo>
                        <a:pt x="911" y="521"/>
                      </a:lnTo>
                      <a:lnTo>
                        <a:pt x="919" y="504"/>
                      </a:lnTo>
                      <a:lnTo>
                        <a:pt x="927" y="487"/>
                      </a:lnTo>
                      <a:lnTo>
                        <a:pt x="932" y="470"/>
                      </a:lnTo>
                      <a:lnTo>
                        <a:pt x="936" y="454"/>
                      </a:lnTo>
                      <a:lnTo>
                        <a:pt x="939" y="439"/>
                      </a:lnTo>
                      <a:lnTo>
                        <a:pt x="940" y="425"/>
                      </a:lnTo>
                      <a:lnTo>
                        <a:pt x="941" y="411"/>
                      </a:lnTo>
                      <a:lnTo>
                        <a:pt x="941" y="398"/>
                      </a:lnTo>
                      <a:lnTo>
                        <a:pt x="940" y="385"/>
                      </a:lnTo>
                      <a:lnTo>
                        <a:pt x="938" y="372"/>
                      </a:lnTo>
                      <a:lnTo>
                        <a:pt x="935" y="360"/>
                      </a:lnTo>
                      <a:lnTo>
                        <a:pt x="932" y="349"/>
                      </a:lnTo>
                      <a:lnTo>
                        <a:pt x="927" y="338"/>
                      </a:lnTo>
                      <a:lnTo>
                        <a:pt x="922" y="328"/>
                      </a:lnTo>
                      <a:lnTo>
                        <a:pt x="917" y="318"/>
                      </a:lnTo>
                      <a:lnTo>
                        <a:pt x="911" y="309"/>
                      </a:lnTo>
                      <a:lnTo>
                        <a:pt x="905" y="300"/>
                      </a:lnTo>
                      <a:lnTo>
                        <a:pt x="899" y="292"/>
                      </a:lnTo>
                      <a:lnTo>
                        <a:pt x="892" y="283"/>
                      </a:lnTo>
                      <a:lnTo>
                        <a:pt x="878" y="269"/>
                      </a:lnTo>
                      <a:lnTo>
                        <a:pt x="864" y="257"/>
                      </a:lnTo>
                      <a:lnTo>
                        <a:pt x="851" y="246"/>
                      </a:lnTo>
                      <a:lnTo>
                        <a:pt x="838" y="237"/>
                      </a:lnTo>
                      <a:lnTo>
                        <a:pt x="825" y="229"/>
                      </a:lnTo>
                      <a:lnTo>
                        <a:pt x="815" y="223"/>
                      </a:lnTo>
                      <a:close/>
                      <a:moveTo>
                        <a:pt x="554" y="496"/>
                      </a:moveTo>
                      <a:lnTo>
                        <a:pt x="553" y="499"/>
                      </a:lnTo>
                      <a:lnTo>
                        <a:pt x="552" y="503"/>
                      </a:lnTo>
                      <a:lnTo>
                        <a:pt x="550" y="506"/>
                      </a:lnTo>
                      <a:lnTo>
                        <a:pt x="548" y="509"/>
                      </a:lnTo>
                      <a:lnTo>
                        <a:pt x="546" y="511"/>
                      </a:lnTo>
                      <a:lnTo>
                        <a:pt x="542" y="512"/>
                      </a:lnTo>
                      <a:lnTo>
                        <a:pt x="539" y="513"/>
                      </a:lnTo>
                      <a:lnTo>
                        <a:pt x="535" y="514"/>
                      </a:lnTo>
                      <a:lnTo>
                        <a:pt x="56" y="514"/>
                      </a:lnTo>
                      <a:lnTo>
                        <a:pt x="52" y="513"/>
                      </a:lnTo>
                      <a:lnTo>
                        <a:pt x="49" y="512"/>
                      </a:lnTo>
                      <a:lnTo>
                        <a:pt x="46" y="511"/>
                      </a:lnTo>
                      <a:lnTo>
                        <a:pt x="43" y="509"/>
                      </a:lnTo>
                      <a:lnTo>
                        <a:pt x="41" y="506"/>
                      </a:lnTo>
                      <a:lnTo>
                        <a:pt x="39" y="503"/>
                      </a:lnTo>
                      <a:lnTo>
                        <a:pt x="38" y="499"/>
                      </a:lnTo>
                      <a:lnTo>
                        <a:pt x="38" y="496"/>
                      </a:lnTo>
                      <a:lnTo>
                        <a:pt x="38" y="56"/>
                      </a:lnTo>
                      <a:lnTo>
                        <a:pt x="38" y="52"/>
                      </a:lnTo>
                      <a:lnTo>
                        <a:pt x="39" y="49"/>
                      </a:lnTo>
                      <a:lnTo>
                        <a:pt x="41" y="45"/>
                      </a:lnTo>
                      <a:lnTo>
                        <a:pt x="43" y="43"/>
                      </a:lnTo>
                      <a:lnTo>
                        <a:pt x="46" y="41"/>
                      </a:lnTo>
                      <a:lnTo>
                        <a:pt x="49" y="39"/>
                      </a:lnTo>
                      <a:lnTo>
                        <a:pt x="52" y="38"/>
                      </a:lnTo>
                      <a:lnTo>
                        <a:pt x="56" y="37"/>
                      </a:lnTo>
                      <a:lnTo>
                        <a:pt x="535" y="37"/>
                      </a:lnTo>
                      <a:lnTo>
                        <a:pt x="539" y="38"/>
                      </a:lnTo>
                      <a:lnTo>
                        <a:pt x="542" y="39"/>
                      </a:lnTo>
                      <a:lnTo>
                        <a:pt x="546" y="41"/>
                      </a:lnTo>
                      <a:lnTo>
                        <a:pt x="548" y="43"/>
                      </a:lnTo>
                      <a:lnTo>
                        <a:pt x="550" y="45"/>
                      </a:lnTo>
                      <a:lnTo>
                        <a:pt x="552" y="49"/>
                      </a:lnTo>
                      <a:lnTo>
                        <a:pt x="553" y="52"/>
                      </a:lnTo>
                      <a:lnTo>
                        <a:pt x="554" y="56"/>
                      </a:lnTo>
                      <a:lnTo>
                        <a:pt x="554" y="150"/>
                      </a:lnTo>
                      <a:lnTo>
                        <a:pt x="545" y="136"/>
                      </a:lnTo>
                      <a:lnTo>
                        <a:pt x="537" y="123"/>
                      </a:lnTo>
                      <a:lnTo>
                        <a:pt x="531" y="112"/>
                      </a:lnTo>
                      <a:lnTo>
                        <a:pt x="526" y="102"/>
                      </a:lnTo>
                      <a:lnTo>
                        <a:pt x="523" y="97"/>
                      </a:lnTo>
                      <a:lnTo>
                        <a:pt x="519" y="92"/>
                      </a:lnTo>
                      <a:lnTo>
                        <a:pt x="514" y="88"/>
                      </a:lnTo>
                      <a:lnTo>
                        <a:pt x="509" y="85"/>
                      </a:lnTo>
                      <a:lnTo>
                        <a:pt x="498" y="82"/>
                      </a:lnTo>
                      <a:lnTo>
                        <a:pt x="493" y="81"/>
                      </a:lnTo>
                      <a:lnTo>
                        <a:pt x="487" y="81"/>
                      </a:lnTo>
                      <a:lnTo>
                        <a:pt x="481" y="83"/>
                      </a:lnTo>
                      <a:lnTo>
                        <a:pt x="476" y="85"/>
                      </a:lnTo>
                      <a:lnTo>
                        <a:pt x="469" y="89"/>
                      </a:lnTo>
                      <a:lnTo>
                        <a:pt x="464" y="94"/>
                      </a:lnTo>
                      <a:lnTo>
                        <a:pt x="458" y="100"/>
                      </a:lnTo>
                      <a:lnTo>
                        <a:pt x="455" y="107"/>
                      </a:lnTo>
                      <a:lnTo>
                        <a:pt x="454" y="114"/>
                      </a:lnTo>
                      <a:lnTo>
                        <a:pt x="453" y="122"/>
                      </a:lnTo>
                      <a:lnTo>
                        <a:pt x="455" y="129"/>
                      </a:lnTo>
                      <a:lnTo>
                        <a:pt x="457" y="136"/>
                      </a:lnTo>
                      <a:lnTo>
                        <a:pt x="460" y="142"/>
                      </a:lnTo>
                      <a:lnTo>
                        <a:pt x="466" y="151"/>
                      </a:lnTo>
                      <a:lnTo>
                        <a:pt x="473" y="163"/>
                      </a:lnTo>
                      <a:lnTo>
                        <a:pt x="482" y="178"/>
                      </a:lnTo>
                      <a:lnTo>
                        <a:pt x="491" y="191"/>
                      </a:lnTo>
                      <a:lnTo>
                        <a:pt x="504" y="210"/>
                      </a:lnTo>
                      <a:lnTo>
                        <a:pt x="519" y="228"/>
                      </a:lnTo>
                      <a:lnTo>
                        <a:pt x="535" y="246"/>
                      </a:lnTo>
                      <a:lnTo>
                        <a:pt x="554" y="263"/>
                      </a:lnTo>
                      <a:lnTo>
                        <a:pt x="554" y="496"/>
                      </a:lnTo>
                      <a:close/>
                      <a:moveTo>
                        <a:pt x="752" y="424"/>
                      </a:moveTo>
                      <a:lnTo>
                        <a:pt x="752" y="424"/>
                      </a:lnTo>
                      <a:lnTo>
                        <a:pt x="728" y="392"/>
                      </a:lnTo>
                      <a:lnTo>
                        <a:pt x="752" y="234"/>
                      </a:lnTo>
                      <a:lnTo>
                        <a:pt x="752" y="234"/>
                      </a:lnTo>
                      <a:lnTo>
                        <a:pt x="776" y="392"/>
                      </a:lnTo>
                      <a:lnTo>
                        <a:pt x="752" y="424"/>
                      </a:lnTo>
                      <a:close/>
                      <a:moveTo>
                        <a:pt x="852" y="467"/>
                      </a:moveTo>
                      <a:lnTo>
                        <a:pt x="852" y="358"/>
                      </a:lnTo>
                      <a:lnTo>
                        <a:pt x="857" y="369"/>
                      </a:lnTo>
                      <a:lnTo>
                        <a:pt x="861" y="381"/>
                      </a:lnTo>
                      <a:lnTo>
                        <a:pt x="863" y="393"/>
                      </a:lnTo>
                      <a:lnTo>
                        <a:pt x="864" y="406"/>
                      </a:lnTo>
                      <a:lnTo>
                        <a:pt x="864" y="420"/>
                      </a:lnTo>
                      <a:lnTo>
                        <a:pt x="862" y="434"/>
                      </a:lnTo>
                      <a:lnTo>
                        <a:pt x="858" y="450"/>
                      </a:lnTo>
                      <a:lnTo>
                        <a:pt x="852" y="467"/>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6" name="Freeform 379">
                  <a:extLst>
                    <a:ext uri="{FF2B5EF4-FFF2-40B4-BE49-F238E27FC236}">
                      <a16:creationId xmlns:a16="http://schemas.microsoft.com/office/drawing/2014/main" id="{9049B956-7BB5-4152-BBB9-577AA11FBF32}"/>
                    </a:ext>
                  </a:extLst>
                </p:cNvPr>
                <p:cNvSpPr>
                  <a:spLocks/>
                </p:cNvSpPr>
                <p:nvPr/>
              </p:nvSpPr>
              <p:spPr bwMode="auto">
                <a:xfrm>
                  <a:off x="6594480" y="5522953"/>
                  <a:ext cx="103188" cy="103189"/>
                </a:xfrm>
                <a:custGeom>
                  <a:avLst/>
                  <a:gdLst>
                    <a:gd name="T0" fmla="*/ 196 w 196"/>
                    <a:gd name="T1" fmla="*/ 88 h 196"/>
                    <a:gd name="T2" fmla="*/ 192 w 196"/>
                    <a:gd name="T3" fmla="*/ 69 h 196"/>
                    <a:gd name="T4" fmla="*/ 184 w 196"/>
                    <a:gd name="T5" fmla="*/ 51 h 196"/>
                    <a:gd name="T6" fmla="*/ 173 w 196"/>
                    <a:gd name="T7" fmla="*/ 36 h 196"/>
                    <a:gd name="T8" fmla="*/ 160 w 196"/>
                    <a:gd name="T9" fmla="*/ 23 h 196"/>
                    <a:gd name="T10" fmla="*/ 144 w 196"/>
                    <a:gd name="T11" fmla="*/ 12 h 196"/>
                    <a:gd name="T12" fmla="*/ 127 w 196"/>
                    <a:gd name="T13" fmla="*/ 4 h 196"/>
                    <a:gd name="T14" fmla="*/ 108 w 196"/>
                    <a:gd name="T15" fmla="*/ 0 h 196"/>
                    <a:gd name="T16" fmla="*/ 88 w 196"/>
                    <a:gd name="T17" fmla="*/ 0 h 196"/>
                    <a:gd name="T18" fmla="*/ 68 w 196"/>
                    <a:gd name="T19" fmla="*/ 4 h 196"/>
                    <a:gd name="T20" fmla="*/ 51 w 196"/>
                    <a:gd name="T21" fmla="*/ 12 h 196"/>
                    <a:gd name="T22" fmla="*/ 36 w 196"/>
                    <a:gd name="T23" fmla="*/ 23 h 196"/>
                    <a:gd name="T24" fmla="*/ 23 w 196"/>
                    <a:gd name="T25" fmla="*/ 36 h 196"/>
                    <a:gd name="T26" fmla="*/ 12 w 196"/>
                    <a:gd name="T27" fmla="*/ 51 h 196"/>
                    <a:gd name="T28" fmla="*/ 5 w 196"/>
                    <a:gd name="T29" fmla="*/ 69 h 196"/>
                    <a:gd name="T30" fmla="*/ 1 w 196"/>
                    <a:gd name="T31" fmla="*/ 88 h 196"/>
                    <a:gd name="T32" fmla="*/ 1 w 196"/>
                    <a:gd name="T33" fmla="*/ 108 h 196"/>
                    <a:gd name="T34" fmla="*/ 5 w 196"/>
                    <a:gd name="T35" fmla="*/ 127 h 196"/>
                    <a:gd name="T36" fmla="*/ 12 w 196"/>
                    <a:gd name="T37" fmla="*/ 145 h 196"/>
                    <a:gd name="T38" fmla="*/ 23 w 196"/>
                    <a:gd name="T39" fmla="*/ 160 h 196"/>
                    <a:gd name="T40" fmla="*/ 36 w 196"/>
                    <a:gd name="T41" fmla="*/ 173 h 196"/>
                    <a:gd name="T42" fmla="*/ 51 w 196"/>
                    <a:gd name="T43" fmla="*/ 184 h 196"/>
                    <a:gd name="T44" fmla="*/ 68 w 196"/>
                    <a:gd name="T45" fmla="*/ 191 h 196"/>
                    <a:gd name="T46" fmla="*/ 88 w 196"/>
                    <a:gd name="T47" fmla="*/ 196 h 196"/>
                    <a:gd name="T48" fmla="*/ 108 w 196"/>
                    <a:gd name="T49" fmla="*/ 196 h 196"/>
                    <a:gd name="T50" fmla="*/ 127 w 196"/>
                    <a:gd name="T51" fmla="*/ 191 h 196"/>
                    <a:gd name="T52" fmla="*/ 144 w 196"/>
                    <a:gd name="T53" fmla="*/ 184 h 196"/>
                    <a:gd name="T54" fmla="*/ 160 w 196"/>
                    <a:gd name="T55" fmla="*/ 173 h 196"/>
                    <a:gd name="T56" fmla="*/ 173 w 196"/>
                    <a:gd name="T57" fmla="*/ 160 h 196"/>
                    <a:gd name="T58" fmla="*/ 184 w 196"/>
                    <a:gd name="T59" fmla="*/ 145 h 196"/>
                    <a:gd name="T60" fmla="*/ 192 w 196"/>
                    <a:gd name="T61" fmla="*/ 127 h 196"/>
                    <a:gd name="T62" fmla="*/ 196 w 196"/>
                    <a:gd name="T63" fmla="*/ 10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 h="196">
                      <a:moveTo>
                        <a:pt x="196" y="98"/>
                      </a:moveTo>
                      <a:lnTo>
                        <a:pt x="196" y="88"/>
                      </a:lnTo>
                      <a:lnTo>
                        <a:pt x="194" y="78"/>
                      </a:lnTo>
                      <a:lnTo>
                        <a:pt x="192" y="69"/>
                      </a:lnTo>
                      <a:lnTo>
                        <a:pt x="189" y="60"/>
                      </a:lnTo>
                      <a:lnTo>
                        <a:pt x="184" y="51"/>
                      </a:lnTo>
                      <a:lnTo>
                        <a:pt x="180" y="43"/>
                      </a:lnTo>
                      <a:lnTo>
                        <a:pt x="173" y="36"/>
                      </a:lnTo>
                      <a:lnTo>
                        <a:pt x="167" y="29"/>
                      </a:lnTo>
                      <a:lnTo>
                        <a:pt x="160" y="23"/>
                      </a:lnTo>
                      <a:lnTo>
                        <a:pt x="152" y="17"/>
                      </a:lnTo>
                      <a:lnTo>
                        <a:pt x="144" y="12"/>
                      </a:lnTo>
                      <a:lnTo>
                        <a:pt x="136" y="7"/>
                      </a:lnTo>
                      <a:lnTo>
                        <a:pt x="127" y="4"/>
                      </a:lnTo>
                      <a:lnTo>
                        <a:pt x="118" y="2"/>
                      </a:lnTo>
                      <a:lnTo>
                        <a:pt x="108" y="0"/>
                      </a:lnTo>
                      <a:lnTo>
                        <a:pt x="98" y="0"/>
                      </a:lnTo>
                      <a:lnTo>
                        <a:pt x="88" y="0"/>
                      </a:lnTo>
                      <a:lnTo>
                        <a:pt x="78" y="2"/>
                      </a:lnTo>
                      <a:lnTo>
                        <a:pt x="68" y="4"/>
                      </a:lnTo>
                      <a:lnTo>
                        <a:pt x="60" y="7"/>
                      </a:lnTo>
                      <a:lnTo>
                        <a:pt x="51" y="12"/>
                      </a:lnTo>
                      <a:lnTo>
                        <a:pt x="43" y="17"/>
                      </a:lnTo>
                      <a:lnTo>
                        <a:pt x="36" y="23"/>
                      </a:lnTo>
                      <a:lnTo>
                        <a:pt x="29" y="29"/>
                      </a:lnTo>
                      <a:lnTo>
                        <a:pt x="23" y="36"/>
                      </a:lnTo>
                      <a:lnTo>
                        <a:pt x="17" y="43"/>
                      </a:lnTo>
                      <a:lnTo>
                        <a:pt x="12" y="51"/>
                      </a:lnTo>
                      <a:lnTo>
                        <a:pt x="8" y="60"/>
                      </a:lnTo>
                      <a:lnTo>
                        <a:pt x="5" y="69"/>
                      </a:lnTo>
                      <a:lnTo>
                        <a:pt x="2" y="78"/>
                      </a:lnTo>
                      <a:lnTo>
                        <a:pt x="1" y="88"/>
                      </a:lnTo>
                      <a:lnTo>
                        <a:pt x="0" y="98"/>
                      </a:lnTo>
                      <a:lnTo>
                        <a:pt x="1" y="108"/>
                      </a:lnTo>
                      <a:lnTo>
                        <a:pt x="2" y="118"/>
                      </a:lnTo>
                      <a:lnTo>
                        <a:pt x="5" y="127"/>
                      </a:lnTo>
                      <a:lnTo>
                        <a:pt x="8" y="136"/>
                      </a:lnTo>
                      <a:lnTo>
                        <a:pt x="12" y="145"/>
                      </a:lnTo>
                      <a:lnTo>
                        <a:pt x="17" y="153"/>
                      </a:lnTo>
                      <a:lnTo>
                        <a:pt x="23" y="160"/>
                      </a:lnTo>
                      <a:lnTo>
                        <a:pt x="29" y="167"/>
                      </a:lnTo>
                      <a:lnTo>
                        <a:pt x="36" y="173"/>
                      </a:lnTo>
                      <a:lnTo>
                        <a:pt x="43" y="179"/>
                      </a:lnTo>
                      <a:lnTo>
                        <a:pt x="51" y="184"/>
                      </a:lnTo>
                      <a:lnTo>
                        <a:pt x="60" y="188"/>
                      </a:lnTo>
                      <a:lnTo>
                        <a:pt x="68" y="191"/>
                      </a:lnTo>
                      <a:lnTo>
                        <a:pt x="78" y="194"/>
                      </a:lnTo>
                      <a:lnTo>
                        <a:pt x="88" y="196"/>
                      </a:lnTo>
                      <a:lnTo>
                        <a:pt x="98" y="196"/>
                      </a:lnTo>
                      <a:lnTo>
                        <a:pt x="108" y="196"/>
                      </a:lnTo>
                      <a:lnTo>
                        <a:pt x="118" y="194"/>
                      </a:lnTo>
                      <a:lnTo>
                        <a:pt x="127" y="191"/>
                      </a:lnTo>
                      <a:lnTo>
                        <a:pt x="136" y="188"/>
                      </a:lnTo>
                      <a:lnTo>
                        <a:pt x="144" y="184"/>
                      </a:lnTo>
                      <a:lnTo>
                        <a:pt x="152" y="179"/>
                      </a:lnTo>
                      <a:lnTo>
                        <a:pt x="160" y="173"/>
                      </a:lnTo>
                      <a:lnTo>
                        <a:pt x="167" y="167"/>
                      </a:lnTo>
                      <a:lnTo>
                        <a:pt x="173" y="160"/>
                      </a:lnTo>
                      <a:lnTo>
                        <a:pt x="180" y="153"/>
                      </a:lnTo>
                      <a:lnTo>
                        <a:pt x="184" y="145"/>
                      </a:lnTo>
                      <a:lnTo>
                        <a:pt x="189" y="136"/>
                      </a:lnTo>
                      <a:lnTo>
                        <a:pt x="192" y="127"/>
                      </a:lnTo>
                      <a:lnTo>
                        <a:pt x="194" y="118"/>
                      </a:lnTo>
                      <a:lnTo>
                        <a:pt x="196" y="108"/>
                      </a:lnTo>
                      <a:lnTo>
                        <a:pt x="196" y="98"/>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7" name="Freeform 380">
                  <a:extLst>
                    <a:ext uri="{FF2B5EF4-FFF2-40B4-BE49-F238E27FC236}">
                      <a16:creationId xmlns:a16="http://schemas.microsoft.com/office/drawing/2014/main" id="{3AEDA50A-5705-41E6-BC85-0CA2935F1D17}"/>
                    </a:ext>
                  </a:extLst>
                </p:cNvPr>
                <p:cNvSpPr>
                  <a:spLocks/>
                </p:cNvSpPr>
                <p:nvPr/>
              </p:nvSpPr>
              <p:spPr bwMode="auto">
                <a:xfrm>
                  <a:off x="6283330" y="5840456"/>
                  <a:ext cx="82550" cy="82551"/>
                </a:xfrm>
                <a:custGeom>
                  <a:avLst/>
                  <a:gdLst>
                    <a:gd name="T0" fmla="*/ 155 w 156"/>
                    <a:gd name="T1" fmla="*/ 70 h 156"/>
                    <a:gd name="T2" fmla="*/ 152 w 156"/>
                    <a:gd name="T3" fmla="*/ 55 h 156"/>
                    <a:gd name="T4" fmla="*/ 146 w 156"/>
                    <a:gd name="T5" fmla="*/ 41 h 156"/>
                    <a:gd name="T6" fmla="*/ 138 w 156"/>
                    <a:gd name="T7" fmla="*/ 28 h 156"/>
                    <a:gd name="T8" fmla="*/ 128 w 156"/>
                    <a:gd name="T9" fmla="*/ 18 h 156"/>
                    <a:gd name="T10" fmla="*/ 114 w 156"/>
                    <a:gd name="T11" fmla="*/ 10 h 156"/>
                    <a:gd name="T12" fmla="*/ 101 w 156"/>
                    <a:gd name="T13" fmla="*/ 4 h 156"/>
                    <a:gd name="T14" fmla="*/ 86 w 156"/>
                    <a:gd name="T15" fmla="*/ 1 h 156"/>
                    <a:gd name="T16" fmla="*/ 70 w 156"/>
                    <a:gd name="T17" fmla="*/ 1 h 156"/>
                    <a:gd name="T18" fmla="*/ 55 w 156"/>
                    <a:gd name="T19" fmla="*/ 4 h 156"/>
                    <a:gd name="T20" fmla="*/ 41 w 156"/>
                    <a:gd name="T21" fmla="*/ 10 h 156"/>
                    <a:gd name="T22" fmla="*/ 28 w 156"/>
                    <a:gd name="T23" fmla="*/ 18 h 156"/>
                    <a:gd name="T24" fmla="*/ 18 w 156"/>
                    <a:gd name="T25" fmla="*/ 28 h 156"/>
                    <a:gd name="T26" fmla="*/ 9 w 156"/>
                    <a:gd name="T27" fmla="*/ 41 h 156"/>
                    <a:gd name="T28" fmla="*/ 4 w 156"/>
                    <a:gd name="T29" fmla="*/ 55 h 156"/>
                    <a:gd name="T30" fmla="*/ 1 w 156"/>
                    <a:gd name="T31" fmla="*/ 70 h 156"/>
                    <a:gd name="T32" fmla="*/ 1 w 156"/>
                    <a:gd name="T33" fmla="*/ 86 h 156"/>
                    <a:gd name="T34" fmla="*/ 4 w 156"/>
                    <a:gd name="T35" fmla="*/ 101 h 156"/>
                    <a:gd name="T36" fmla="*/ 9 w 156"/>
                    <a:gd name="T37" fmla="*/ 115 h 156"/>
                    <a:gd name="T38" fmla="*/ 18 w 156"/>
                    <a:gd name="T39" fmla="*/ 127 h 156"/>
                    <a:gd name="T40" fmla="*/ 28 w 156"/>
                    <a:gd name="T41" fmla="*/ 137 h 156"/>
                    <a:gd name="T42" fmla="*/ 41 w 156"/>
                    <a:gd name="T43" fmla="*/ 147 h 156"/>
                    <a:gd name="T44" fmla="*/ 55 w 156"/>
                    <a:gd name="T45" fmla="*/ 152 h 156"/>
                    <a:gd name="T46" fmla="*/ 70 w 156"/>
                    <a:gd name="T47" fmla="*/ 155 h 156"/>
                    <a:gd name="T48" fmla="*/ 86 w 156"/>
                    <a:gd name="T49" fmla="*/ 155 h 156"/>
                    <a:gd name="T50" fmla="*/ 101 w 156"/>
                    <a:gd name="T51" fmla="*/ 152 h 156"/>
                    <a:gd name="T52" fmla="*/ 114 w 156"/>
                    <a:gd name="T53" fmla="*/ 147 h 156"/>
                    <a:gd name="T54" fmla="*/ 128 w 156"/>
                    <a:gd name="T55" fmla="*/ 137 h 156"/>
                    <a:gd name="T56" fmla="*/ 138 w 156"/>
                    <a:gd name="T57" fmla="*/ 127 h 156"/>
                    <a:gd name="T58" fmla="*/ 146 w 156"/>
                    <a:gd name="T59" fmla="*/ 115 h 156"/>
                    <a:gd name="T60" fmla="*/ 152 w 156"/>
                    <a:gd name="T61" fmla="*/ 101 h 156"/>
                    <a:gd name="T62" fmla="*/ 155 w 156"/>
                    <a:gd name="T63" fmla="*/ 8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56">
                      <a:moveTo>
                        <a:pt x="156" y="78"/>
                      </a:moveTo>
                      <a:lnTo>
                        <a:pt x="155" y="70"/>
                      </a:lnTo>
                      <a:lnTo>
                        <a:pt x="154" y="63"/>
                      </a:lnTo>
                      <a:lnTo>
                        <a:pt x="152" y="55"/>
                      </a:lnTo>
                      <a:lnTo>
                        <a:pt x="149" y="47"/>
                      </a:lnTo>
                      <a:lnTo>
                        <a:pt x="146" y="41"/>
                      </a:lnTo>
                      <a:lnTo>
                        <a:pt x="142" y="34"/>
                      </a:lnTo>
                      <a:lnTo>
                        <a:pt x="138" y="28"/>
                      </a:lnTo>
                      <a:lnTo>
                        <a:pt x="133" y="23"/>
                      </a:lnTo>
                      <a:lnTo>
                        <a:pt x="128" y="18"/>
                      </a:lnTo>
                      <a:lnTo>
                        <a:pt x="122" y="14"/>
                      </a:lnTo>
                      <a:lnTo>
                        <a:pt x="114" y="10"/>
                      </a:lnTo>
                      <a:lnTo>
                        <a:pt x="108" y="6"/>
                      </a:lnTo>
                      <a:lnTo>
                        <a:pt x="101" y="4"/>
                      </a:lnTo>
                      <a:lnTo>
                        <a:pt x="93" y="2"/>
                      </a:lnTo>
                      <a:lnTo>
                        <a:pt x="86" y="1"/>
                      </a:lnTo>
                      <a:lnTo>
                        <a:pt x="78" y="0"/>
                      </a:lnTo>
                      <a:lnTo>
                        <a:pt x="70" y="1"/>
                      </a:lnTo>
                      <a:lnTo>
                        <a:pt x="62" y="2"/>
                      </a:lnTo>
                      <a:lnTo>
                        <a:pt x="55" y="4"/>
                      </a:lnTo>
                      <a:lnTo>
                        <a:pt x="48" y="6"/>
                      </a:lnTo>
                      <a:lnTo>
                        <a:pt x="41" y="10"/>
                      </a:lnTo>
                      <a:lnTo>
                        <a:pt x="35" y="14"/>
                      </a:lnTo>
                      <a:lnTo>
                        <a:pt x="28" y="18"/>
                      </a:lnTo>
                      <a:lnTo>
                        <a:pt x="23" y="23"/>
                      </a:lnTo>
                      <a:lnTo>
                        <a:pt x="18" y="28"/>
                      </a:lnTo>
                      <a:lnTo>
                        <a:pt x="13" y="34"/>
                      </a:lnTo>
                      <a:lnTo>
                        <a:pt x="9" y="41"/>
                      </a:lnTo>
                      <a:lnTo>
                        <a:pt x="6" y="47"/>
                      </a:lnTo>
                      <a:lnTo>
                        <a:pt x="4" y="55"/>
                      </a:lnTo>
                      <a:lnTo>
                        <a:pt x="2" y="63"/>
                      </a:lnTo>
                      <a:lnTo>
                        <a:pt x="1" y="70"/>
                      </a:lnTo>
                      <a:lnTo>
                        <a:pt x="0" y="78"/>
                      </a:lnTo>
                      <a:lnTo>
                        <a:pt x="1" y="86"/>
                      </a:lnTo>
                      <a:lnTo>
                        <a:pt x="2" y="94"/>
                      </a:lnTo>
                      <a:lnTo>
                        <a:pt x="4" y="101"/>
                      </a:lnTo>
                      <a:lnTo>
                        <a:pt x="6" y="108"/>
                      </a:lnTo>
                      <a:lnTo>
                        <a:pt x="9" y="115"/>
                      </a:lnTo>
                      <a:lnTo>
                        <a:pt x="13" y="121"/>
                      </a:lnTo>
                      <a:lnTo>
                        <a:pt x="18" y="127"/>
                      </a:lnTo>
                      <a:lnTo>
                        <a:pt x="23" y="132"/>
                      </a:lnTo>
                      <a:lnTo>
                        <a:pt x="28" y="137"/>
                      </a:lnTo>
                      <a:lnTo>
                        <a:pt x="35" y="142"/>
                      </a:lnTo>
                      <a:lnTo>
                        <a:pt x="41" y="147"/>
                      </a:lnTo>
                      <a:lnTo>
                        <a:pt x="48" y="150"/>
                      </a:lnTo>
                      <a:lnTo>
                        <a:pt x="55" y="152"/>
                      </a:lnTo>
                      <a:lnTo>
                        <a:pt x="62" y="154"/>
                      </a:lnTo>
                      <a:lnTo>
                        <a:pt x="70" y="155"/>
                      </a:lnTo>
                      <a:lnTo>
                        <a:pt x="78" y="156"/>
                      </a:lnTo>
                      <a:lnTo>
                        <a:pt x="86" y="155"/>
                      </a:lnTo>
                      <a:lnTo>
                        <a:pt x="93" y="154"/>
                      </a:lnTo>
                      <a:lnTo>
                        <a:pt x="101" y="152"/>
                      </a:lnTo>
                      <a:lnTo>
                        <a:pt x="108" y="150"/>
                      </a:lnTo>
                      <a:lnTo>
                        <a:pt x="114" y="147"/>
                      </a:lnTo>
                      <a:lnTo>
                        <a:pt x="122" y="142"/>
                      </a:lnTo>
                      <a:lnTo>
                        <a:pt x="128" y="137"/>
                      </a:lnTo>
                      <a:lnTo>
                        <a:pt x="133" y="132"/>
                      </a:lnTo>
                      <a:lnTo>
                        <a:pt x="138" y="127"/>
                      </a:lnTo>
                      <a:lnTo>
                        <a:pt x="142" y="121"/>
                      </a:lnTo>
                      <a:lnTo>
                        <a:pt x="146" y="115"/>
                      </a:lnTo>
                      <a:lnTo>
                        <a:pt x="149" y="108"/>
                      </a:lnTo>
                      <a:lnTo>
                        <a:pt x="152" y="101"/>
                      </a:lnTo>
                      <a:lnTo>
                        <a:pt x="154" y="94"/>
                      </a:lnTo>
                      <a:lnTo>
                        <a:pt x="155" y="86"/>
                      </a:lnTo>
                      <a:lnTo>
                        <a:pt x="156" y="78"/>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8" name="Freeform 381">
                  <a:extLst>
                    <a:ext uri="{FF2B5EF4-FFF2-40B4-BE49-F238E27FC236}">
                      <a16:creationId xmlns:a16="http://schemas.microsoft.com/office/drawing/2014/main" id="{C28A77CD-2181-44E6-9910-B1D3BA92FA67}"/>
                    </a:ext>
                  </a:extLst>
                </p:cNvPr>
                <p:cNvSpPr>
                  <a:spLocks/>
                </p:cNvSpPr>
                <p:nvPr/>
              </p:nvSpPr>
              <p:spPr bwMode="auto">
                <a:xfrm>
                  <a:off x="6245230" y="5926182"/>
                  <a:ext cx="158750" cy="90489"/>
                </a:xfrm>
                <a:custGeom>
                  <a:avLst/>
                  <a:gdLst>
                    <a:gd name="T0" fmla="*/ 61 w 302"/>
                    <a:gd name="T1" fmla="*/ 173 h 173"/>
                    <a:gd name="T2" fmla="*/ 60 w 302"/>
                    <a:gd name="T3" fmla="*/ 157 h 173"/>
                    <a:gd name="T4" fmla="*/ 62 w 302"/>
                    <a:gd name="T5" fmla="*/ 143 h 173"/>
                    <a:gd name="T6" fmla="*/ 66 w 302"/>
                    <a:gd name="T7" fmla="*/ 130 h 173"/>
                    <a:gd name="T8" fmla="*/ 71 w 302"/>
                    <a:gd name="T9" fmla="*/ 119 h 173"/>
                    <a:gd name="T10" fmla="*/ 150 w 302"/>
                    <a:gd name="T11" fmla="*/ 173 h 173"/>
                    <a:gd name="T12" fmla="*/ 151 w 302"/>
                    <a:gd name="T13" fmla="*/ 22 h 173"/>
                    <a:gd name="T14" fmla="*/ 169 w 302"/>
                    <a:gd name="T15" fmla="*/ 147 h 173"/>
                    <a:gd name="T16" fmla="*/ 230 w 302"/>
                    <a:gd name="T17" fmla="*/ 173 h 173"/>
                    <a:gd name="T18" fmla="*/ 233 w 302"/>
                    <a:gd name="T19" fmla="*/ 125 h 173"/>
                    <a:gd name="T20" fmla="*/ 238 w 302"/>
                    <a:gd name="T21" fmla="*/ 137 h 173"/>
                    <a:gd name="T22" fmla="*/ 241 w 302"/>
                    <a:gd name="T23" fmla="*/ 150 h 173"/>
                    <a:gd name="T24" fmla="*/ 241 w 302"/>
                    <a:gd name="T25" fmla="*/ 164 h 173"/>
                    <a:gd name="T26" fmla="*/ 302 w 302"/>
                    <a:gd name="T27" fmla="*/ 173 h 173"/>
                    <a:gd name="T28" fmla="*/ 301 w 302"/>
                    <a:gd name="T29" fmla="*/ 139 h 173"/>
                    <a:gd name="T30" fmla="*/ 293 w 302"/>
                    <a:gd name="T31" fmla="*/ 111 h 173"/>
                    <a:gd name="T32" fmla="*/ 280 w 302"/>
                    <a:gd name="T33" fmla="*/ 87 h 173"/>
                    <a:gd name="T34" fmla="*/ 265 w 302"/>
                    <a:gd name="T35" fmla="*/ 65 h 173"/>
                    <a:gd name="T36" fmla="*/ 248 w 302"/>
                    <a:gd name="T37" fmla="*/ 48 h 173"/>
                    <a:gd name="T38" fmla="*/ 231 w 302"/>
                    <a:gd name="T39" fmla="*/ 34 h 173"/>
                    <a:gd name="T40" fmla="*/ 203 w 302"/>
                    <a:gd name="T41" fmla="*/ 14 h 173"/>
                    <a:gd name="T42" fmla="*/ 199 w 302"/>
                    <a:gd name="T43" fmla="*/ 13 h 173"/>
                    <a:gd name="T44" fmla="*/ 184 w 302"/>
                    <a:gd name="T45" fmla="*/ 5 h 173"/>
                    <a:gd name="T46" fmla="*/ 170 w 302"/>
                    <a:gd name="T47" fmla="*/ 0 h 173"/>
                    <a:gd name="T48" fmla="*/ 132 w 302"/>
                    <a:gd name="T49" fmla="*/ 0 h 173"/>
                    <a:gd name="T50" fmla="*/ 132 w 302"/>
                    <a:gd name="T51" fmla="*/ 0 h 173"/>
                    <a:gd name="T52" fmla="*/ 117 w 302"/>
                    <a:gd name="T53" fmla="*/ 5 h 173"/>
                    <a:gd name="T54" fmla="*/ 104 w 302"/>
                    <a:gd name="T55" fmla="*/ 13 h 173"/>
                    <a:gd name="T56" fmla="*/ 99 w 302"/>
                    <a:gd name="T57" fmla="*/ 14 h 173"/>
                    <a:gd name="T58" fmla="*/ 70 w 302"/>
                    <a:gd name="T59" fmla="*/ 34 h 173"/>
                    <a:gd name="T60" fmla="*/ 53 w 302"/>
                    <a:gd name="T61" fmla="*/ 48 h 173"/>
                    <a:gd name="T62" fmla="*/ 36 w 302"/>
                    <a:gd name="T63" fmla="*/ 65 h 173"/>
                    <a:gd name="T64" fmla="*/ 21 w 302"/>
                    <a:gd name="T65" fmla="*/ 87 h 173"/>
                    <a:gd name="T66" fmla="*/ 8 w 302"/>
                    <a:gd name="T67" fmla="*/ 111 h 173"/>
                    <a:gd name="T68" fmla="*/ 1 w 302"/>
                    <a:gd name="T69" fmla="*/ 139 h 173"/>
                    <a:gd name="T70" fmla="*/ 0 w 302"/>
                    <a:gd name="T71"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2" h="173">
                      <a:moveTo>
                        <a:pt x="0" y="173"/>
                      </a:moveTo>
                      <a:lnTo>
                        <a:pt x="61" y="173"/>
                      </a:lnTo>
                      <a:lnTo>
                        <a:pt x="60" y="164"/>
                      </a:lnTo>
                      <a:lnTo>
                        <a:pt x="60" y="157"/>
                      </a:lnTo>
                      <a:lnTo>
                        <a:pt x="61" y="150"/>
                      </a:lnTo>
                      <a:lnTo>
                        <a:pt x="62" y="143"/>
                      </a:lnTo>
                      <a:lnTo>
                        <a:pt x="64" y="137"/>
                      </a:lnTo>
                      <a:lnTo>
                        <a:pt x="66" y="130"/>
                      </a:lnTo>
                      <a:lnTo>
                        <a:pt x="68" y="125"/>
                      </a:lnTo>
                      <a:lnTo>
                        <a:pt x="71" y="119"/>
                      </a:lnTo>
                      <a:lnTo>
                        <a:pt x="71" y="173"/>
                      </a:lnTo>
                      <a:lnTo>
                        <a:pt x="150" y="173"/>
                      </a:lnTo>
                      <a:lnTo>
                        <a:pt x="132" y="147"/>
                      </a:lnTo>
                      <a:lnTo>
                        <a:pt x="151" y="22"/>
                      </a:lnTo>
                      <a:lnTo>
                        <a:pt x="151" y="22"/>
                      </a:lnTo>
                      <a:lnTo>
                        <a:pt x="169" y="147"/>
                      </a:lnTo>
                      <a:lnTo>
                        <a:pt x="151" y="173"/>
                      </a:lnTo>
                      <a:lnTo>
                        <a:pt x="230" y="173"/>
                      </a:lnTo>
                      <a:lnTo>
                        <a:pt x="230" y="119"/>
                      </a:lnTo>
                      <a:lnTo>
                        <a:pt x="233" y="125"/>
                      </a:lnTo>
                      <a:lnTo>
                        <a:pt x="236" y="131"/>
                      </a:lnTo>
                      <a:lnTo>
                        <a:pt x="238" y="137"/>
                      </a:lnTo>
                      <a:lnTo>
                        <a:pt x="239" y="143"/>
                      </a:lnTo>
                      <a:lnTo>
                        <a:pt x="241" y="150"/>
                      </a:lnTo>
                      <a:lnTo>
                        <a:pt x="241" y="157"/>
                      </a:lnTo>
                      <a:lnTo>
                        <a:pt x="241" y="164"/>
                      </a:lnTo>
                      <a:lnTo>
                        <a:pt x="241" y="173"/>
                      </a:lnTo>
                      <a:lnTo>
                        <a:pt x="302" y="173"/>
                      </a:lnTo>
                      <a:lnTo>
                        <a:pt x="302" y="155"/>
                      </a:lnTo>
                      <a:lnTo>
                        <a:pt x="301" y="139"/>
                      </a:lnTo>
                      <a:lnTo>
                        <a:pt x="298" y="125"/>
                      </a:lnTo>
                      <a:lnTo>
                        <a:pt x="293" y="111"/>
                      </a:lnTo>
                      <a:lnTo>
                        <a:pt x="288" y="98"/>
                      </a:lnTo>
                      <a:lnTo>
                        <a:pt x="280" y="87"/>
                      </a:lnTo>
                      <a:lnTo>
                        <a:pt x="273" y="75"/>
                      </a:lnTo>
                      <a:lnTo>
                        <a:pt x="265" y="65"/>
                      </a:lnTo>
                      <a:lnTo>
                        <a:pt x="257" y="56"/>
                      </a:lnTo>
                      <a:lnTo>
                        <a:pt x="248" y="48"/>
                      </a:lnTo>
                      <a:lnTo>
                        <a:pt x="240" y="40"/>
                      </a:lnTo>
                      <a:lnTo>
                        <a:pt x="231" y="34"/>
                      </a:lnTo>
                      <a:lnTo>
                        <a:pt x="216" y="23"/>
                      </a:lnTo>
                      <a:lnTo>
                        <a:pt x="203" y="14"/>
                      </a:lnTo>
                      <a:lnTo>
                        <a:pt x="201" y="13"/>
                      </a:lnTo>
                      <a:lnTo>
                        <a:pt x="199" y="13"/>
                      </a:lnTo>
                      <a:lnTo>
                        <a:pt x="191" y="9"/>
                      </a:lnTo>
                      <a:lnTo>
                        <a:pt x="184" y="5"/>
                      </a:lnTo>
                      <a:lnTo>
                        <a:pt x="177" y="2"/>
                      </a:lnTo>
                      <a:lnTo>
                        <a:pt x="170" y="0"/>
                      </a:lnTo>
                      <a:lnTo>
                        <a:pt x="151" y="19"/>
                      </a:lnTo>
                      <a:lnTo>
                        <a:pt x="132" y="0"/>
                      </a:lnTo>
                      <a:lnTo>
                        <a:pt x="132" y="0"/>
                      </a:lnTo>
                      <a:lnTo>
                        <a:pt x="132" y="0"/>
                      </a:lnTo>
                      <a:lnTo>
                        <a:pt x="125" y="2"/>
                      </a:lnTo>
                      <a:lnTo>
                        <a:pt x="117" y="5"/>
                      </a:lnTo>
                      <a:lnTo>
                        <a:pt x="110" y="8"/>
                      </a:lnTo>
                      <a:lnTo>
                        <a:pt x="104" y="13"/>
                      </a:lnTo>
                      <a:lnTo>
                        <a:pt x="101" y="13"/>
                      </a:lnTo>
                      <a:lnTo>
                        <a:pt x="99" y="14"/>
                      </a:lnTo>
                      <a:lnTo>
                        <a:pt x="86" y="23"/>
                      </a:lnTo>
                      <a:lnTo>
                        <a:pt x="70" y="34"/>
                      </a:lnTo>
                      <a:lnTo>
                        <a:pt x="62" y="40"/>
                      </a:lnTo>
                      <a:lnTo>
                        <a:pt x="53" y="48"/>
                      </a:lnTo>
                      <a:lnTo>
                        <a:pt x="45" y="56"/>
                      </a:lnTo>
                      <a:lnTo>
                        <a:pt x="36" y="65"/>
                      </a:lnTo>
                      <a:lnTo>
                        <a:pt x="28" y="75"/>
                      </a:lnTo>
                      <a:lnTo>
                        <a:pt x="21" y="87"/>
                      </a:lnTo>
                      <a:lnTo>
                        <a:pt x="15" y="98"/>
                      </a:lnTo>
                      <a:lnTo>
                        <a:pt x="8" y="111"/>
                      </a:lnTo>
                      <a:lnTo>
                        <a:pt x="4" y="125"/>
                      </a:lnTo>
                      <a:lnTo>
                        <a:pt x="1" y="139"/>
                      </a:lnTo>
                      <a:lnTo>
                        <a:pt x="0" y="155"/>
                      </a:lnTo>
                      <a:lnTo>
                        <a:pt x="0" y="173"/>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69" name="Freeform 382">
                  <a:extLst>
                    <a:ext uri="{FF2B5EF4-FFF2-40B4-BE49-F238E27FC236}">
                      <a16:creationId xmlns:a16="http://schemas.microsoft.com/office/drawing/2014/main" id="{A10381EB-5E26-4902-875D-3B6079FA294A}"/>
                    </a:ext>
                  </a:extLst>
                </p:cNvPr>
                <p:cNvSpPr>
                  <a:spLocks/>
                </p:cNvSpPr>
                <p:nvPr/>
              </p:nvSpPr>
              <p:spPr bwMode="auto">
                <a:xfrm>
                  <a:off x="6443667" y="5840450"/>
                  <a:ext cx="80964" cy="82551"/>
                </a:xfrm>
                <a:custGeom>
                  <a:avLst/>
                  <a:gdLst>
                    <a:gd name="T0" fmla="*/ 155 w 155"/>
                    <a:gd name="T1" fmla="*/ 70 h 156"/>
                    <a:gd name="T2" fmla="*/ 152 w 155"/>
                    <a:gd name="T3" fmla="*/ 55 h 156"/>
                    <a:gd name="T4" fmla="*/ 146 w 155"/>
                    <a:gd name="T5" fmla="*/ 41 h 156"/>
                    <a:gd name="T6" fmla="*/ 138 w 155"/>
                    <a:gd name="T7" fmla="*/ 28 h 156"/>
                    <a:gd name="T8" fmla="*/ 127 w 155"/>
                    <a:gd name="T9" fmla="*/ 18 h 156"/>
                    <a:gd name="T10" fmla="*/ 115 w 155"/>
                    <a:gd name="T11" fmla="*/ 10 h 156"/>
                    <a:gd name="T12" fmla="*/ 101 w 155"/>
                    <a:gd name="T13" fmla="*/ 4 h 156"/>
                    <a:gd name="T14" fmla="*/ 85 w 155"/>
                    <a:gd name="T15" fmla="*/ 1 h 156"/>
                    <a:gd name="T16" fmla="*/ 70 w 155"/>
                    <a:gd name="T17" fmla="*/ 1 h 156"/>
                    <a:gd name="T18" fmla="*/ 55 w 155"/>
                    <a:gd name="T19" fmla="*/ 4 h 156"/>
                    <a:gd name="T20" fmla="*/ 41 w 155"/>
                    <a:gd name="T21" fmla="*/ 10 h 156"/>
                    <a:gd name="T22" fmla="*/ 29 w 155"/>
                    <a:gd name="T23" fmla="*/ 18 h 156"/>
                    <a:gd name="T24" fmla="*/ 18 w 155"/>
                    <a:gd name="T25" fmla="*/ 28 h 156"/>
                    <a:gd name="T26" fmla="*/ 10 w 155"/>
                    <a:gd name="T27" fmla="*/ 41 h 156"/>
                    <a:gd name="T28" fmla="*/ 4 w 155"/>
                    <a:gd name="T29" fmla="*/ 55 h 156"/>
                    <a:gd name="T30" fmla="*/ 0 w 155"/>
                    <a:gd name="T31" fmla="*/ 70 h 156"/>
                    <a:gd name="T32" fmla="*/ 0 w 155"/>
                    <a:gd name="T33" fmla="*/ 86 h 156"/>
                    <a:gd name="T34" fmla="*/ 4 w 155"/>
                    <a:gd name="T35" fmla="*/ 101 h 156"/>
                    <a:gd name="T36" fmla="*/ 10 w 155"/>
                    <a:gd name="T37" fmla="*/ 115 h 156"/>
                    <a:gd name="T38" fmla="*/ 18 w 155"/>
                    <a:gd name="T39" fmla="*/ 127 h 156"/>
                    <a:gd name="T40" fmla="*/ 29 w 155"/>
                    <a:gd name="T41" fmla="*/ 137 h 156"/>
                    <a:gd name="T42" fmla="*/ 41 w 155"/>
                    <a:gd name="T43" fmla="*/ 147 h 156"/>
                    <a:gd name="T44" fmla="*/ 55 w 155"/>
                    <a:gd name="T45" fmla="*/ 152 h 156"/>
                    <a:gd name="T46" fmla="*/ 70 w 155"/>
                    <a:gd name="T47" fmla="*/ 155 h 156"/>
                    <a:gd name="T48" fmla="*/ 85 w 155"/>
                    <a:gd name="T49" fmla="*/ 155 h 156"/>
                    <a:gd name="T50" fmla="*/ 101 w 155"/>
                    <a:gd name="T51" fmla="*/ 152 h 156"/>
                    <a:gd name="T52" fmla="*/ 115 w 155"/>
                    <a:gd name="T53" fmla="*/ 147 h 156"/>
                    <a:gd name="T54" fmla="*/ 127 w 155"/>
                    <a:gd name="T55" fmla="*/ 137 h 156"/>
                    <a:gd name="T56" fmla="*/ 138 w 155"/>
                    <a:gd name="T57" fmla="*/ 127 h 156"/>
                    <a:gd name="T58" fmla="*/ 146 w 155"/>
                    <a:gd name="T59" fmla="*/ 115 h 156"/>
                    <a:gd name="T60" fmla="*/ 152 w 155"/>
                    <a:gd name="T61" fmla="*/ 101 h 156"/>
                    <a:gd name="T62" fmla="*/ 155 w 155"/>
                    <a:gd name="T63" fmla="*/ 8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5" h="156">
                      <a:moveTo>
                        <a:pt x="155" y="78"/>
                      </a:moveTo>
                      <a:lnTo>
                        <a:pt x="155" y="70"/>
                      </a:lnTo>
                      <a:lnTo>
                        <a:pt x="154" y="63"/>
                      </a:lnTo>
                      <a:lnTo>
                        <a:pt x="152" y="55"/>
                      </a:lnTo>
                      <a:lnTo>
                        <a:pt x="149" y="47"/>
                      </a:lnTo>
                      <a:lnTo>
                        <a:pt x="146" y="41"/>
                      </a:lnTo>
                      <a:lnTo>
                        <a:pt x="142" y="34"/>
                      </a:lnTo>
                      <a:lnTo>
                        <a:pt x="138" y="28"/>
                      </a:lnTo>
                      <a:lnTo>
                        <a:pt x="133" y="23"/>
                      </a:lnTo>
                      <a:lnTo>
                        <a:pt x="127" y="18"/>
                      </a:lnTo>
                      <a:lnTo>
                        <a:pt x="121" y="14"/>
                      </a:lnTo>
                      <a:lnTo>
                        <a:pt x="115" y="10"/>
                      </a:lnTo>
                      <a:lnTo>
                        <a:pt x="108" y="6"/>
                      </a:lnTo>
                      <a:lnTo>
                        <a:pt x="101" y="4"/>
                      </a:lnTo>
                      <a:lnTo>
                        <a:pt x="93" y="2"/>
                      </a:lnTo>
                      <a:lnTo>
                        <a:pt x="85" y="1"/>
                      </a:lnTo>
                      <a:lnTo>
                        <a:pt x="77" y="0"/>
                      </a:lnTo>
                      <a:lnTo>
                        <a:pt x="70" y="1"/>
                      </a:lnTo>
                      <a:lnTo>
                        <a:pt x="62" y="2"/>
                      </a:lnTo>
                      <a:lnTo>
                        <a:pt x="55" y="4"/>
                      </a:lnTo>
                      <a:lnTo>
                        <a:pt x="48" y="6"/>
                      </a:lnTo>
                      <a:lnTo>
                        <a:pt x="41" y="10"/>
                      </a:lnTo>
                      <a:lnTo>
                        <a:pt x="35" y="14"/>
                      </a:lnTo>
                      <a:lnTo>
                        <a:pt x="29" y="18"/>
                      </a:lnTo>
                      <a:lnTo>
                        <a:pt x="23" y="23"/>
                      </a:lnTo>
                      <a:lnTo>
                        <a:pt x="18" y="28"/>
                      </a:lnTo>
                      <a:lnTo>
                        <a:pt x="14" y="34"/>
                      </a:lnTo>
                      <a:lnTo>
                        <a:pt x="10" y="41"/>
                      </a:lnTo>
                      <a:lnTo>
                        <a:pt x="7" y="47"/>
                      </a:lnTo>
                      <a:lnTo>
                        <a:pt x="4" y="55"/>
                      </a:lnTo>
                      <a:lnTo>
                        <a:pt x="1" y="63"/>
                      </a:lnTo>
                      <a:lnTo>
                        <a:pt x="0" y="70"/>
                      </a:lnTo>
                      <a:lnTo>
                        <a:pt x="0" y="78"/>
                      </a:lnTo>
                      <a:lnTo>
                        <a:pt x="0" y="86"/>
                      </a:lnTo>
                      <a:lnTo>
                        <a:pt x="1" y="94"/>
                      </a:lnTo>
                      <a:lnTo>
                        <a:pt x="4" y="101"/>
                      </a:lnTo>
                      <a:lnTo>
                        <a:pt x="7" y="108"/>
                      </a:lnTo>
                      <a:lnTo>
                        <a:pt x="10" y="115"/>
                      </a:lnTo>
                      <a:lnTo>
                        <a:pt x="14" y="121"/>
                      </a:lnTo>
                      <a:lnTo>
                        <a:pt x="18" y="127"/>
                      </a:lnTo>
                      <a:lnTo>
                        <a:pt x="23" y="132"/>
                      </a:lnTo>
                      <a:lnTo>
                        <a:pt x="29" y="137"/>
                      </a:lnTo>
                      <a:lnTo>
                        <a:pt x="35" y="142"/>
                      </a:lnTo>
                      <a:lnTo>
                        <a:pt x="41" y="147"/>
                      </a:lnTo>
                      <a:lnTo>
                        <a:pt x="48" y="150"/>
                      </a:lnTo>
                      <a:lnTo>
                        <a:pt x="55" y="152"/>
                      </a:lnTo>
                      <a:lnTo>
                        <a:pt x="62" y="154"/>
                      </a:lnTo>
                      <a:lnTo>
                        <a:pt x="70" y="155"/>
                      </a:lnTo>
                      <a:lnTo>
                        <a:pt x="77" y="156"/>
                      </a:lnTo>
                      <a:lnTo>
                        <a:pt x="85" y="155"/>
                      </a:lnTo>
                      <a:lnTo>
                        <a:pt x="93" y="154"/>
                      </a:lnTo>
                      <a:lnTo>
                        <a:pt x="101" y="152"/>
                      </a:lnTo>
                      <a:lnTo>
                        <a:pt x="108" y="150"/>
                      </a:lnTo>
                      <a:lnTo>
                        <a:pt x="115" y="147"/>
                      </a:lnTo>
                      <a:lnTo>
                        <a:pt x="121" y="142"/>
                      </a:lnTo>
                      <a:lnTo>
                        <a:pt x="127" y="137"/>
                      </a:lnTo>
                      <a:lnTo>
                        <a:pt x="133" y="132"/>
                      </a:lnTo>
                      <a:lnTo>
                        <a:pt x="138" y="127"/>
                      </a:lnTo>
                      <a:lnTo>
                        <a:pt x="142" y="121"/>
                      </a:lnTo>
                      <a:lnTo>
                        <a:pt x="146" y="115"/>
                      </a:lnTo>
                      <a:lnTo>
                        <a:pt x="149" y="108"/>
                      </a:lnTo>
                      <a:lnTo>
                        <a:pt x="152" y="101"/>
                      </a:lnTo>
                      <a:lnTo>
                        <a:pt x="154" y="94"/>
                      </a:lnTo>
                      <a:lnTo>
                        <a:pt x="155" y="86"/>
                      </a:lnTo>
                      <a:lnTo>
                        <a:pt x="155" y="78"/>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70" name="Freeform 383">
                  <a:extLst>
                    <a:ext uri="{FF2B5EF4-FFF2-40B4-BE49-F238E27FC236}">
                      <a16:creationId xmlns:a16="http://schemas.microsoft.com/office/drawing/2014/main" id="{538EF1BE-C0C3-4C3D-A430-AF256F4BC6B6}"/>
                    </a:ext>
                  </a:extLst>
                </p:cNvPr>
                <p:cNvSpPr>
                  <a:spLocks/>
                </p:cNvSpPr>
                <p:nvPr/>
              </p:nvSpPr>
              <p:spPr bwMode="auto">
                <a:xfrm>
                  <a:off x="6403980" y="5926179"/>
                  <a:ext cx="160338" cy="90488"/>
                </a:xfrm>
                <a:custGeom>
                  <a:avLst/>
                  <a:gdLst>
                    <a:gd name="T0" fmla="*/ 61 w 302"/>
                    <a:gd name="T1" fmla="*/ 173 h 173"/>
                    <a:gd name="T2" fmla="*/ 60 w 302"/>
                    <a:gd name="T3" fmla="*/ 157 h 173"/>
                    <a:gd name="T4" fmla="*/ 62 w 302"/>
                    <a:gd name="T5" fmla="*/ 143 h 173"/>
                    <a:gd name="T6" fmla="*/ 65 w 302"/>
                    <a:gd name="T7" fmla="*/ 130 h 173"/>
                    <a:gd name="T8" fmla="*/ 71 w 302"/>
                    <a:gd name="T9" fmla="*/ 119 h 173"/>
                    <a:gd name="T10" fmla="*/ 150 w 302"/>
                    <a:gd name="T11" fmla="*/ 173 h 173"/>
                    <a:gd name="T12" fmla="*/ 150 w 302"/>
                    <a:gd name="T13" fmla="*/ 22 h 173"/>
                    <a:gd name="T14" fmla="*/ 170 w 302"/>
                    <a:gd name="T15" fmla="*/ 147 h 173"/>
                    <a:gd name="T16" fmla="*/ 230 w 302"/>
                    <a:gd name="T17" fmla="*/ 173 h 173"/>
                    <a:gd name="T18" fmla="*/ 233 w 302"/>
                    <a:gd name="T19" fmla="*/ 125 h 173"/>
                    <a:gd name="T20" fmla="*/ 237 w 302"/>
                    <a:gd name="T21" fmla="*/ 137 h 173"/>
                    <a:gd name="T22" fmla="*/ 240 w 302"/>
                    <a:gd name="T23" fmla="*/ 150 h 173"/>
                    <a:gd name="T24" fmla="*/ 241 w 302"/>
                    <a:gd name="T25" fmla="*/ 164 h 173"/>
                    <a:gd name="T26" fmla="*/ 301 w 302"/>
                    <a:gd name="T27" fmla="*/ 173 h 173"/>
                    <a:gd name="T28" fmla="*/ 300 w 302"/>
                    <a:gd name="T29" fmla="*/ 139 h 173"/>
                    <a:gd name="T30" fmla="*/ 293 w 302"/>
                    <a:gd name="T31" fmla="*/ 111 h 173"/>
                    <a:gd name="T32" fmla="*/ 281 w 302"/>
                    <a:gd name="T33" fmla="*/ 87 h 173"/>
                    <a:gd name="T34" fmla="*/ 266 w 302"/>
                    <a:gd name="T35" fmla="*/ 65 h 173"/>
                    <a:gd name="T36" fmla="*/ 248 w 302"/>
                    <a:gd name="T37" fmla="*/ 48 h 173"/>
                    <a:gd name="T38" fmla="*/ 231 w 302"/>
                    <a:gd name="T39" fmla="*/ 34 h 173"/>
                    <a:gd name="T40" fmla="*/ 202 w 302"/>
                    <a:gd name="T41" fmla="*/ 14 h 173"/>
                    <a:gd name="T42" fmla="*/ 198 w 302"/>
                    <a:gd name="T43" fmla="*/ 13 h 173"/>
                    <a:gd name="T44" fmla="*/ 185 w 302"/>
                    <a:gd name="T45" fmla="*/ 5 h 173"/>
                    <a:gd name="T46" fmla="*/ 171 w 302"/>
                    <a:gd name="T47" fmla="*/ 0 h 173"/>
                    <a:gd name="T48" fmla="*/ 132 w 302"/>
                    <a:gd name="T49" fmla="*/ 0 h 173"/>
                    <a:gd name="T50" fmla="*/ 132 w 302"/>
                    <a:gd name="T51" fmla="*/ 0 h 173"/>
                    <a:gd name="T52" fmla="*/ 117 w 302"/>
                    <a:gd name="T53" fmla="*/ 5 h 173"/>
                    <a:gd name="T54" fmla="*/ 103 w 302"/>
                    <a:gd name="T55" fmla="*/ 13 h 173"/>
                    <a:gd name="T56" fmla="*/ 99 w 302"/>
                    <a:gd name="T57" fmla="*/ 14 h 173"/>
                    <a:gd name="T58" fmla="*/ 70 w 302"/>
                    <a:gd name="T59" fmla="*/ 34 h 173"/>
                    <a:gd name="T60" fmla="*/ 53 w 302"/>
                    <a:gd name="T61" fmla="*/ 48 h 173"/>
                    <a:gd name="T62" fmla="*/ 36 w 302"/>
                    <a:gd name="T63" fmla="*/ 65 h 173"/>
                    <a:gd name="T64" fmla="*/ 21 w 302"/>
                    <a:gd name="T65" fmla="*/ 87 h 173"/>
                    <a:gd name="T66" fmla="*/ 9 w 302"/>
                    <a:gd name="T67" fmla="*/ 111 h 173"/>
                    <a:gd name="T68" fmla="*/ 2 w 302"/>
                    <a:gd name="T69" fmla="*/ 139 h 173"/>
                    <a:gd name="T70" fmla="*/ 1 w 302"/>
                    <a:gd name="T71"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2" h="173">
                      <a:moveTo>
                        <a:pt x="1" y="173"/>
                      </a:moveTo>
                      <a:lnTo>
                        <a:pt x="61" y="173"/>
                      </a:lnTo>
                      <a:lnTo>
                        <a:pt x="60" y="164"/>
                      </a:lnTo>
                      <a:lnTo>
                        <a:pt x="60" y="157"/>
                      </a:lnTo>
                      <a:lnTo>
                        <a:pt x="61" y="150"/>
                      </a:lnTo>
                      <a:lnTo>
                        <a:pt x="62" y="143"/>
                      </a:lnTo>
                      <a:lnTo>
                        <a:pt x="63" y="137"/>
                      </a:lnTo>
                      <a:lnTo>
                        <a:pt x="65" y="130"/>
                      </a:lnTo>
                      <a:lnTo>
                        <a:pt x="68" y="125"/>
                      </a:lnTo>
                      <a:lnTo>
                        <a:pt x="71" y="119"/>
                      </a:lnTo>
                      <a:lnTo>
                        <a:pt x="71" y="173"/>
                      </a:lnTo>
                      <a:lnTo>
                        <a:pt x="150" y="173"/>
                      </a:lnTo>
                      <a:lnTo>
                        <a:pt x="132" y="147"/>
                      </a:lnTo>
                      <a:lnTo>
                        <a:pt x="150" y="22"/>
                      </a:lnTo>
                      <a:lnTo>
                        <a:pt x="151" y="22"/>
                      </a:lnTo>
                      <a:lnTo>
                        <a:pt x="170" y="147"/>
                      </a:lnTo>
                      <a:lnTo>
                        <a:pt x="151" y="173"/>
                      </a:lnTo>
                      <a:lnTo>
                        <a:pt x="230" y="173"/>
                      </a:lnTo>
                      <a:lnTo>
                        <a:pt x="230" y="119"/>
                      </a:lnTo>
                      <a:lnTo>
                        <a:pt x="233" y="125"/>
                      </a:lnTo>
                      <a:lnTo>
                        <a:pt x="235" y="131"/>
                      </a:lnTo>
                      <a:lnTo>
                        <a:pt x="237" y="137"/>
                      </a:lnTo>
                      <a:lnTo>
                        <a:pt x="239" y="143"/>
                      </a:lnTo>
                      <a:lnTo>
                        <a:pt x="240" y="150"/>
                      </a:lnTo>
                      <a:lnTo>
                        <a:pt x="241" y="157"/>
                      </a:lnTo>
                      <a:lnTo>
                        <a:pt x="241" y="164"/>
                      </a:lnTo>
                      <a:lnTo>
                        <a:pt x="240" y="173"/>
                      </a:lnTo>
                      <a:lnTo>
                        <a:pt x="301" y="173"/>
                      </a:lnTo>
                      <a:lnTo>
                        <a:pt x="302" y="155"/>
                      </a:lnTo>
                      <a:lnTo>
                        <a:pt x="300" y="139"/>
                      </a:lnTo>
                      <a:lnTo>
                        <a:pt x="297" y="125"/>
                      </a:lnTo>
                      <a:lnTo>
                        <a:pt x="293" y="111"/>
                      </a:lnTo>
                      <a:lnTo>
                        <a:pt x="287" y="98"/>
                      </a:lnTo>
                      <a:lnTo>
                        <a:pt x="281" y="87"/>
                      </a:lnTo>
                      <a:lnTo>
                        <a:pt x="274" y="75"/>
                      </a:lnTo>
                      <a:lnTo>
                        <a:pt x="266" y="65"/>
                      </a:lnTo>
                      <a:lnTo>
                        <a:pt x="257" y="56"/>
                      </a:lnTo>
                      <a:lnTo>
                        <a:pt x="248" y="48"/>
                      </a:lnTo>
                      <a:lnTo>
                        <a:pt x="239" y="40"/>
                      </a:lnTo>
                      <a:lnTo>
                        <a:pt x="231" y="34"/>
                      </a:lnTo>
                      <a:lnTo>
                        <a:pt x="215" y="23"/>
                      </a:lnTo>
                      <a:lnTo>
                        <a:pt x="202" y="14"/>
                      </a:lnTo>
                      <a:lnTo>
                        <a:pt x="200" y="13"/>
                      </a:lnTo>
                      <a:lnTo>
                        <a:pt x="198" y="13"/>
                      </a:lnTo>
                      <a:lnTo>
                        <a:pt x="192" y="9"/>
                      </a:lnTo>
                      <a:lnTo>
                        <a:pt x="185" y="5"/>
                      </a:lnTo>
                      <a:lnTo>
                        <a:pt x="178" y="2"/>
                      </a:lnTo>
                      <a:lnTo>
                        <a:pt x="171" y="0"/>
                      </a:lnTo>
                      <a:lnTo>
                        <a:pt x="150" y="19"/>
                      </a:lnTo>
                      <a:lnTo>
                        <a:pt x="132" y="0"/>
                      </a:lnTo>
                      <a:lnTo>
                        <a:pt x="132" y="0"/>
                      </a:lnTo>
                      <a:lnTo>
                        <a:pt x="132" y="0"/>
                      </a:lnTo>
                      <a:lnTo>
                        <a:pt x="124" y="2"/>
                      </a:lnTo>
                      <a:lnTo>
                        <a:pt x="117" y="5"/>
                      </a:lnTo>
                      <a:lnTo>
                        <a:pt x="110" y="9"/>
                      </a:lnTo>
                      <a:lnTo>
                        <a:pt x="103" y="13"/>
                      </a:lnTo>
                      <a:lnTo>
                        <a:pt x="101" y="13"/>
                      </a:lnTo>
                      <a:lnTo>
                        <a:pt x="99" y="14"/>
                      </a:lnTo>
                      <a:lnTo>
                        <a:pt x="86" y="23"/>
                      </a:lnTo>
                      <a:lnTo>
                        <a:pt x="70" y="34"/>
                      </a:lnTo>
                      <a:lnTo>
                        <a:pt x="61" y="40"/>
                      </a:lnTo>
                      <a:lnTo>
                        <a:pt x="53" y="48"/>
                      </a:lnTo>
                      <a:lnTo>
                        <a:pt x="44" y="56"/>
                      </a:lnTo>
                      <a:lnTo>
                        <a:pt x="36" y="65"/>
                      </a:lnTo>
                      <a:lnTo>
                        <a:pt x="28" y="75"/>
                      </a:lnTo>
                      <a:lnTo>
                        <a:pt x="21" y="87"/>
                      </a:lnTo>
                      <a:lnTo>
                        <a:pt x="14" y="98"/>
                      </a:lnTo>
                      <a:lnTo>
                        <a:pt x="9" y="111"/>
                      </a:lnTo>
                      <a:lnTo>
                        <a:pt x="4" y="125"/>
                      </a:lnTo>
                      <a:lnTo>
                        <a:pt x="2" y="139"/>
                      </a:lnTo>
                      <a:lnTo>
                        <a:pt x="0" y="155"/>
                      </a:lnTo>
                      <a:lnTo>
                        <a:pt x="1" y="173"/>
                      </a:lnTo>
                      <a:close/>
                    </a:path>
                  </a:pathLst>
                </a:cu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71" name="Rectangle 384">
                  <a:extLst>
                    <a:ext uri="{FF2B5EF4-FFF2-40B4-BE49-F238E27FC236}">
                      <a16:creationId xmlns:a16="http://schemas.microsoft.com/office/drawing/2014/main" id="{83AD53AC-27C8-41F5-8862-4B290F21B255}"/>
                    </a:ext>
                  </a:extLst>
                </p:cNvPr>
                <p:cNvSpPr>
                  <a:spLocks noChangeArrowheads="1"/>
                </p:cNvSpPr>
                <p:nvPr/>
              </p:nvSpPr>
              <p:spPr bwMode="auto">
                <a:xfrm>
                  <a:off x="6229350" y="6029326"/>
                  <a:ext cx="468313" cy="58738"/>
                </a:xfrm>
                <a:prstGeom prst="rect">
                  <a:avLst/>
                </a:prstGeom>
                <a:grpFill/>
                <a:ln w="0">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61" name="Oval 60">
                <a:extLst>
                  <a:ext uri="{FF2B5EF4-FFF2-40B4-BE49-F238E27FC236}">
                    <a16:creationId xmlns:a16="http://schemas.microsoft.com/office/drawing/2014/main" id="{1BE7AE7B-E3FD-49AE-A363-DC06C14F053F}"/>
                  </a:ext>
                </a:extLst>
              </p:cNvPr>
              <p:cNvSpPr/>
              <p:nvPr/>
            </p:nvSpPr>
            <p:spPr>
              <a:xfrm>
                <a:off x="98717" y="903439"/>
                <a:ext cx="27432" cy="27432"/>
              </a:xfrm>
              <a:prstGeom prst="ellipse">
                <a:avLst/>
              </a:prstGeom>
              <a:solidFill>
                <a:srgbClr val="FFFFFF"/>
              </a:solidFill>
              <a:ln w="9525" cap="flat" cmpd="sng" algn="ctr">
                <a:solidFill>
                  <a:srgbClr val="00A2E0"/>
                </a:solidFill>
                <a:prstDash val="solid"/>
              </a:ln>
              <a:effectLst/>
            </p:spPr>
            <p:txBody>
              <a:bodyPr rtlCol="0" anchor="ctr"/>
              <a:lstStyle/>
              <a:p>
                <a:pPr marL="0" marR="0" lvl="0" indent="0" algn="ctr" defTabSz="34286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grpSp>
          <p:nvGrpSpPr>
            <p:cNvPr id="32" name="Group 31">
              <a:extLst>
                <a:ext uri="{FF2B5EF4-FFF2-40B4-BE49-F238E27FC236}">
                  <a16:creationId xmlns:a16="http://schemas.microsoft.com/office/drawing/2014/main" id="{165D404A-951A-4183-AD07-EACE637C73F7}"/>
                </a:ext>
              </a:extLst>
            </p:cNvPr>
            <p:cNvGrpSpPr/>
            <p:nvPr/>
          </p:nvGrpSpPr>
          <p:grpSpPr>
            <a:xfrm>
              <a:off x="2051159" y="4294964"/>
              <a:ext cx="563845" cy="563845"/>
              <a:chOff x="3934581" y="2479815"/>
              <a:chExt cx="457200" cy="457200"/>
            </a:xfrm>
          </p:grpSpPr>
          <p:sp>
            <p:nvSpPr>
              <p:cNvPr id="52" name="Oval 51">
                <a:extLst>
                  <a:ext uri="{FF2B5EF4-FFF2-40B4-BE49-F238E27FC236}">
                    <a16:creationId xmlns:a16="http://schemas.microsoft.com/office/drawing/2014/main" id="{B774BA16-7F57-4EA9-98B3-2F21D6CB0666}"/>
                  </a:ext>
                </a:extLst>
              </p:cNvPr>
              <p:cNvSpPr/>
              <p:nvPr/>
            </p:nvSpPr>
            <p:spPr>
              <a:xfrm>
                <a:off x="3934581" y="2479815"/>
                <a:ext cx="457200" cy="457200"/>
              </a:xfrm>
              <a:prstGeom prst="ellipse">
                <a:avLst/>
              </a:prstGeom>
              <a:solidFill>
                <a:schemeClr val="accent3"/>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nvGrpSpPr>
              <p:cNvPr id="53" name="Group 83">
                <a:extLst>
                  <a:ext uri="{FF2B5EF4-FFF2-40B4-BE49-F238E27FC236}">
                    <a16:creationId xmlns:a16="http://schemas.microsoft.com/office/drawing/2014/main" id="{7ABE157C-EFEC-4EBE-858F-2A8CD0BE4BCD}"/>
                  </a:ext>
                </a:extLst>
              </p:cNvPr>
              <p:cNvGrpSpPr>
                <a:grpSpLocks noChangeAspect="1"/>
              </p:cNvGrpSpPr>
              <p:nvPr/>
            </p:nvGrpSpPr>
            <p:grpSpPr bwMode="auto">
              <a:xfrm>
                <a:off x="4023696" y="2587580"/>
                <a:ext cx="277805" cy="274320"/>
                <a:chOff x="845" y="854"/>
                <a:chExt cx="2391" cy="2361"/>
              </a:xfrm>
              <a:noFill/>
            </p:grpSpPr>
            <p:sp>
              <p:nvSpPr>
                <p:cNvPr id="55" name="Freeform 85">
                  <a:extLst>
                    <a:ext uri="{FF2B5EF4-FFF2-40B4-BE49-F238E27FC236}">
                      <a16:creationId xmlns:a16="http://schemas.microsoft.com/office/drawing/2014/main" id="{6C7ABCFC-0359-47C1-A85A-E6A2FD4E4EC2}"/>
                    </a:ext>
                  </a:extLst>
                </p:cNvPr>
                <p:cNvSpPr>
                  <a:spLocks/>
                </p:cNvSpPr>
                <p:nvPr/>
              </p:nvSpPr>
              <p:spPr bwMode="auto">
                <a:xfrm>
                  <a:off x="845" y="2177"/>
                  <a:ext cx="2295" cy="1038"/>
                </a:xfrm>
                <a:custGeom>
                  <a:avLst/>
                  <a:gdLst>
                    <a:gd name="T0" fmla="*/ 3109 w 4591"/>
                    <a:gd name="T1" fmla="*/ 26 h 2077"/>
                    <a:gd name="T2" fmla="*/ 3170 w 4591"/>
                    <a:gd name="T3" fmla="*/ 131 h 2077"/>
                    <a:gd name="T4" fmla="*/ 3156 w 4591"/>
                    <a:gd name="T5" fmla="*/ 283 h 2077"/>
                    <a:gd name="T6" fmla="*/ 3048 w 4591"/>
                    <a:gd name="T7" fmla="*/ 450 h 2077"/>
                    <a:gd name="T8" fmla="*/ 2831 w 4591"/>
                    <a:gd name="T9" fmla="*/ 594 h 2077"/>
                    <a:gd name="T10" fmla="*/ 2706 w 4591"/>
                    <a:gd name="T11" fmla="*/ 634 h 2077"/>
                    <a:gd name="T12" fmla="*/ 2514 w 4591"/>
                    <a:gd name="T13" fmla="*/ 688 h 2077"/>
                    <a:gd name="T14" fmla="*/ 2327 w 4591"/>
                    <a:gd name="T15" fmla="*/ 743 h 2077"/>
                    <a:gd name="T16" fmla="*/ 2239 w 4591"/>
                    <a:gd name="T17" fmla="*/ 778 h 2077"/>
                    <a:gd name="T18" fmla="*/ 2335 w 4591"/>
                    <a:gd name="T19" fmla="*/ 796 h 2077"/>
                    <a:gd name="T20" fmla="*/ 2526 w 4591"/>
                    <a:gd name="T21" fmla="*/ 822 h 2077"/>
                    <a:gd name="T22" fmla="*/ 2778 w 4591"/>
                    <a:gd name="T23" fmla="*/ 835 h 2077"/>
                    <a:gd name="T24" fmla="*/ 3053 w 4591"/>
                    <a:gd name="T25" fmla="*/ 814 h 2077"/>
                    <a:gd name="T26" fmla="*/ 3314 w 4591"/>
                    <a:gd name="T27" fmla="*/ 739 h 2077"/>
                    <a:gd name="T28" fmla="*/ 3610 w 4591"/>
                    <a:gd name="T29" fmla="*/ 587 h 2077"/>
                    <a:gd name="T30" fmla="*/ 3899 w 4591"/>
                    <a:gd name="T31" fmla="*/ 428 h 2077"/>
                    <a:gd name="T32" fmla="*/ 4166 w 4591"/>
                    <a:gd name="T33" fmla="*/ 317 h 2077"/>
                    <a:gd name="T34" fmla="*/ 4354 w 4591"/>
                    <a:gd name="T35" fmla="*/ 298 h 2077"/>
                    <a:gd name="T36" fmla="*/ 4488 w 4591"/>
                    <a:gd name="T37" fmla="*/ 338 h 2077"/>
                    <a:gd name="T38" fmla="*/ 4578 w 4591"/>
                    <a:gd name="T39" fmla="*/ 430 h 2077"/>
                    <a:gd name="T40" fmla="*/ 4583 w 4591"/>
                    <a:gd name="T41" fmla="*/ 546 h 2077"/>
                    <a:gd name="T42" fmla="*/ 4505 w 4591"/>
                    <a:gd name="T43" fmla="*/ 632 h 2077"/>
                    <a:gd name="T44" fmla="*/ 4344 w 4591"/>
                    <a:gd name="T45" fmla="*/ 771 h 2077"/>
                    <a:gd name="T46" fmla="*/ 4119 w 4591"/>
                    <a:gd name="T47" fmla="*/ 941 h 2077"/>
                    <a:gd name="T48" fmla="*/ 3845 w 4591"/>
                    <a:gd name="T49" fmla="*/ 1122 h 2077"/>
                    <a:gd name="T50" fmla="*/ 3540 w 4591"/>
                    <a:gd name="T51" fmla="*/ 1295 h 2077"/>
                    <a:gd name="T52" fmla="*/ 3221 w 4591"/>
                    <a:gd name="T53" fmla="*/ 1437 h 2077"/>
                    <a:gd name="T54" fmla="*/ 3040 w 4591"/>
                    <a:gd name="T55" fmla="*/ 1497 h 2077"/>
                    <a:gd name="T56" fmla="*/ 2900 w 4591"/>
                    <a:gd name="T57" fmla="*/ 1520 h 2077"/>
                    <a:gd name="T58" fmla="*/ 2648 w 4591"/>
                    <a:gd name="T59" fmla="*/ 1536 h 2077"/>
                    <a:gd name="T60" fmla="*/ 2372 w 4591"/>
                    <a:gd name="T61" fmla="*/ 1552 h 2077"/>
                    <a:gd name="T62" fmla="*/ 2162 w 4591"/>
                    <a:gd name="T63" fmla="*/ 1560 h 2077"/>
                    <a:gd name="T64" fmla="*/ 1934 w 4591"/>
                    <a:gd name="T65" fmla="*/ 1566 h 2077"/>
                    <a:gd name="T66" fmla="*/ 1606 w 4591"/>
                    <a:gd name="T67" fmla="*/ 1568 h 2077"/>
                    <a:gd name="T68" fmla="*/ 1463 w 4591"/>
                    <a:gd name="T69" fmla="*/ 1605 h 2077"/>
                    <a:gd name="T70" fmla="*/ 1296 w 4591"/>
                    <a:gd name="T71" fmla="*/ 1700 h 2077"/>
                    <a:gd name="T72" fmla="*/ 1127 w 4591"/>
                    <a:gd name="T73" fmla="*/ 1823 h 2077"/>
                    <a:gd name="T74" fmla="*/ 981 w 4591"/>
                    <a:gd name="T75" fmla="*/ 1945 h 2077"/>
                    <a:gd name="T76" fmla="*/ 876 w 4591"/>
                    <a:gd name="T77" fmla="*/ 2039 h 2077"/>
                    <a:gd name="T78" fmla="*/ 837 w 4591"/>
                    <a:gd name="T79" fmla="*/ 2077 h 2077"/>
                    <a:gd name="T80" fmla="*/ 19 w 4591"/>
                    <a:gd name="T81" fmla="*/ 1237 h 2077"/>
                    <a:gd name="T82" fmla="*/ 96 w 4591"/>
                    <a:gd name="T83" fmla="*/ 1121 h 2077"/>
                    <a:gd name="T84" fmla="*/ 219 w 4591"/>
                    <a:gd name="T85" fmla="*/ 945 h 2077"/>
                    <a:gd name="T86" fmla="*/ 373 w 4591"/>
                    <a:gd name="T87" fmla="*/ 742 h 2077"/>
                    <a:gd name="T88" fmla="*/ 544 w 4591"/>
                    <a:gd name="T89" fmla="*/ 542 h 2077"/>
                    <a:gd name="T90" fmla="*/ 717 w 4591"/>
                    <a:gd name="T91" fmla="*/ 375 h 2077"/>
                    <a:gd name="T92" fmla="*/ 878 w 4591"/>
                    <a:gd name="T93" fmla="*/ 275 h 2077"/>
                    <a:gd name="T94" fmla="*/ 1136 w 4591"/>
                    <a:gd name="T95" fmla="*/ 219 h 2077"/>
                    <a:gd name="T96" fmla="*/ 1476 w 4591"/>
                    <a:gd name="T97" fmla="*/ 193 h 2077"/>
                    <a:gd name="T98" fmla="*/ 1847 w 4591"/>
                    <a:gd name="T99" fmla="*/ 169 h 2077"/>
                    <a:gd name="T100" fmla="*/ 2233 w 4591"/>
                    <a:gd name="T101" fmla="*/ 118 h 2077"/>
                    <a:gd name="T102" fmla="*/ 2539 w 4591"/>
                    <a:gd name="T103" fmla="*/ 64 h 2077"/>
                    <a:gd name="T104" fmla="*/ 2767 w 4591"/>
                    <a:gd name="T105" fmla="*/ 23 h 2077"/>
                    <a:gd name="T106" fmla="*/ 2970 w 4591"/>
                    <a:gd name="T107" fmla="*/ 2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91" h="2077">
                      <a:moveTo>
                        <a:pt x="3025" y="0"/>
                      </a:moveTo>
                      <a:lnTo>
                        <a:pt x="3056" y="2"/>
                      </a:lnTo>
                      <a:lnTo>
                        <a:pt x="3085" y="12"/>
                      </a:lnTo>
                      <a:lnTo>
                        <a:pt x="3109" y="26"/>
                      </a:lnTo>
                      <a:lnTo>
                        <a:pt x="3131" y="45"/>
                      </a:lnTo>
                      <a:lnTo>
                        <a:pt x="3148" y="70"/>
                      </a:lnTo>
                      <a:lnTo>
                        <a:pt x="3162" y="99"/>
                      </a:lnTo>
                      <a:lnTo>
                        <a:pt x="3170" y="131"/>
                      </a:lnTo>
                      <a:lnTo>
                        <a:pt x="3175" y="166"/>
                      </a:lnTo>
                      <a:lnTo>
                        <a:pt x="3175" y="203"/>
                      </a:lnTo>
                      <a:lnTo>
                        <a:pt x="3167" y="243"/>
                      </a:lnTo>
                      <a:lnTo>
                        <a:pt x="3156" y="283"/>
                      </a:lnTo>
                      <a:lnTo>
                        <a:pt x="3138" y="325"/>
                      </a:lnTo>
                      <a:lnTo>
                        <a:pt x="3115" y="367"/>
                      </a:lnTo>
                      <a:lnTo>
                        <a:pt x="3085" y="409"/>
                      </a:lnTo>
                      <a:lnTo>
                        <a:pt x="3048" y="450"/>
                      </a:lnTo>
                      <a:lnTo>
                        <a:pt x="3005" y="489"/>
                      </a:lnTo>
                      <a:lnTo>
                        <a:pt x="2954" y="527"/>
                      </a:lnTo>
                      <a:lnTo>
                        <a:pt x="2896" y="562"/>
                      </a:lnTo>
                      <a:lnTo>
                        <a:pt x="2831" y="594"/>
                      </a:lnTo>
                      <a:lnTo>
                        <a:pt x="2810" y="602"/>
                      </a:lnTo>
                      <a:lnTo>
                        <a:pt x="2781" y="613"/>
                      </a:lnTo>
                      <a:lnTo>
                        <a:pt x="2747" y="623"/>
                      </a:lnTo>
                      <a:lnTo>
                        <a:pt x="2706" y="634"/>
                      </a:lnTo>
                      <a:lnTo>
                        <a:pt x="2662" y="647"/>
                      </a:lnTo>
                      <a:lnTo>
                        <a:pt x="2615" y="661"/>
                      </a:lnTo>
                      <a:lnTo>
                        <a:pt x="2565" y="675"/>
                      </a:lnTo>
                      <a:lnTo>
                        <a:pt x="2514" y="688"/>
                      </a:lnTo>
                      <a:lnTo>
                        <a:pt x="2465" y="703"/>
                      </a:lnTo>
                      <a:lnTo>
                        <a:pt x="2416" y="717"/>
                      </a:lnTo>
                      <a:lnTo>
                        <a:pt x="2369" y="730"/>
                      </a:lnTo>
                      <a:lnTo>
                        <a:pt x="2327" y="743"/>
                      </a:lnTo>
                      <a:lnTo>
                        <a:pt x="2291" y="755"/>
                      </a:lnTo>
                      <a:lnTo>
                        <a:pt x="2259" y="766"/>
                      </a:lnTo>
                      <a:lnTo>
                        <a:pt x="2234" y="777"/>
                      </a:lnTo>
                      <a:lnTo>
                        <a:pt x="2239" y="778"/>
                      </a:lnTo>
                      <a:lnTo>
                        <a:pt x="2252" y="781"/>
                      </a:lnTo>
                      <a:lnTo>
                        <a:pt x="2272" y="784"/>
                      </a:lnTo>
                      <a:lnTo>
                        <a:pt x="2300" y="790"/>
                      </a:lnTo>
                      <a:lnTo>
                        <a:pt x="2335" y="796"/>
                      </a:lnTo>
                      <a:lnTo>
                        <a:pt x="2375" y="803"/>
                      </a:lnTo>
                      <a:lnTo>
                        <a:pt x="2422" y="810"/>
                      </a:lnTo>
                      <a:lnTo>
                        <a:pt x="2472" y="816"/>
                      </a:lnTo>
                      <a:lnTo>
                        <a:pt x="2526" y="822"/>
                      </a:lnTo>
                      <a:lnTo>
                        <a:pt x="2586" y="827"/>
                      </a:lnTo>
                      <a:lnTo>
                        <a:pt x="2648" y="832"/>
                      </a:lnTo>
                      <a:lnTo>
                        <a:pt x="2712" y="835"/>
                      </a:lnTo>
                      <a:lnTo>
                        <a:pt x="2778" y="835"/>
                      </a:lnTo>
                      <a:lnTo>
                        <a:pt x="2847" y="833"/>
                      </a:lnTo>
                      <a:lnTo>
                        <a:pt x="2915" y="830"/>
                      </a:lnTo>
                      <a:lnTo>
                        <a:pt x="2985" y="823"/>
                      </a:lnTo>
                      <a:lnTo>
                        <a:pt x="3053" y="814"/>
                      </a:lnTo>
                      <a:lnTo>
                        <a:pt x="3121" y="801"/>
                      </a:lnTo>
                      <a:lnTo>
                        <a:pt x="3188" y="785"/>
                      </a:lnTo>
                      <a:lnTo>
                        <a:pt x="3251" y="764"/>
                      </a:lnTo>
                      <a:lnTo>
                        <a:pt x="3314" y="739"/>
                      </a:lnTo>
                      <a:lnTo>
                        <a:pt x="3388" y="704"/>
                      </a:lnTo>
                      <a:lnTo>
                        <a:pt x="3462" y="666"/>
                      </a:lnTo>
                      <a:lnTo>
                        <a:pt x="3536" y="627"/>
                      </a:lnTo>
                      <a:lnTo>
                        <a:pt x="3610" y="587"/>
                      </a:lnTo>
                      <a:lnTo>
                        <a:pt x="3682" y="544"/>
                      </a:lnTo>
                      <a:lnTo>
                        <a:pt x="3755" y="504"/>
                      </a:lnTo>
                      <a:lnTo>
                        <a:pt x="3827" y="465"/>
                      </a:lnTo>
                      <a:lnTo>
                        <a:pt x="3899" y="428"/>
                      </a:lnTo>
                      <a:lnTo>
                        <a:pt x="3967" y="394"/>
                      </a:lnTo>
                      <a:lnTo>
                        <a:pt x="4035" y="363"/>
                      </a:lnTo>
                      <a:lnTo>
                        <a:pt x="4102" y="337"/>
                      </a:lnTo>
                      <a:lnTo>
                        <a:pt x="4166" y="317"/>
                      </a:lnTo>
                      <a:lnTo>
                        <a:pt x="4226" y="302"/>
                      </a:lnTo>
                      <a:lnTo>
                        <a:pt x="4286" y="295"/>
                      </a:lnTo>
                      <a:lnTo>
                        <a:pt x="4321" y="295"/>
                      </a:lnTo>
                      <a:lnTo>
                        <a:pt x="4354" y="298"/>
                      </a:lnTo>
                      <a:lnTo>
                        <a:pt x="4390" y="302"/>
                      </a:lnTo>
                      <a:lnTo>
                        <a:pt x="4424" y="311"/>
                      </a:lnTo>
                      <a:lnTo>
                        <a:pt x="4457" y="322"/>
                      </a:lnTo>
                      <a:lnTo>
                        <a:pt x="4488" y="338"/>
                      </a:lnTo>
                      <a:lnTo>
                        <a:pt x="4517" y="356"/>
                      </a:lnTo>
                      <a:lnTo>
                        <a:pt x="4541" y="378"/>
                      </a:lnTo>
                      <a:lnTo>
                        <a:pt x="4562" y="402"/>
                      </a:lnTo>
                      <a:lnTo>
                        <a:pt x="4578" y="430"/>
                      </a:lnTo>
                      <a:lnTo>
                        <a:pt x="4588" y="462"/>
                      </a:lnTo>
                      <a:lnTo>
                        <a:pt x="4591" y="497"/>
                      </a:lnTo>
                      <a:lnTo>
                        <a:pt x="4588" y="534"/>
                      </a:lnTo>
                      <a:lnTo>
                        <a:pt x="4583" y="546"/>
                      </a:lnTo>
                      <a:lnTo>
                        <a:pt x="4572" y="560"/>
                      </a:lnTo>
                      <a:lnTo>
                        <a:pt x="4556" y="581"/>
                      </a:lnTo>
                      <a:lnTo>
                        <a:pt x="4533" y="604"/>
                      </a:lnTo>
                      <a:lnTo>
                        <a:pt x="4505" y="632"/>
                      </a:lnTo>
                      <a:lnTo>
                        <a:pt x="4472" y="662"/>
                      </a:lnTo>
                      <a:lnTo>
                        <a:pt x="4434" y="695"/>
                      </a:lnTo>
                      <a:lnTo>
                        <a:pt x="4390" y="732"/>
                      </a:lnTo>
                      <a:lnTo>
                        <a:pt x="4344" y="771"/>
                      </a:lnTo>
                      <a:lnTo>
                        <a:pt x="4293" y="810"/>
                      </a:lnTo>
                      <a:lnTo>
                        <a:pt x="4238" y="852"/>
                      </a:lnTo>
                      <a:lnTo>
                        <a:pt x="4180" y="896"/>
                      </a:lnTo>
                      <a:lnTo>
                        <a:pt x="4119" y="941"/>
                      </a:lnTo>
                      <a:lnTo>
                        <a:pt x="4054" y="986"/>
                      </a:lnTo>
                      <a:lnTo>
                        <a:pt x="3987" y="1031"/>
                      </a:lnTo>
                      <a:lnTo>
                        <a:pt x="3916" y="1077"/>
                      </a:lnTo>
                      <a:lnTo>
                        <a:pt x="3845" y="1122"/>
                      </a:lnTo>
                      <a:lnTo>
                        <a:pt x="3771" y="1167"/>
                      </a:lnTo>
                      <a:lnTo>
                        <a:pt x="3695" y="1211"/>
                      </a:lnTo>
                      <a:lnTo>
                        <a:pt x="3619" y="1253"/>
                      </a:lnTo>
                      <a:lnTo>
                        <a:pt x="3540" y="1295"/>
                      </a:lnTo>
                      <a:lnTo>
                        <a:pt x="3460" y="1334"/>
                      </a:lnTo>
                      <a:lnTo>
                        <a:pt x="3381" y="1370"/>
                      </a:lnTo>
                      <a:lnTo>
                        <a:pt x="3301" y="1405"/>
                      </a:lnTo>
                      <a:lnTo>
                        <a:pt x="3221" y="1437"/>
                      </a:lnTo>
                      <a:lnTo>
                        <a:pt x="3141" y="1466"/>
                      </a:lnTo>
                      <a:lnTo>
                        <a:pt x="3105" y="1478"/>
                      </a:lnTo>
                      <a:lnTo>
                        <a:pt x="3072" y="1488"/>
                      </a:lnTo>
                      <a:lnTo>
                        <a:pt x="3040" y="1497"/>
                      </a:lnTo>
                      <a:lnTo>
                        <a:pt x="3008" y="1504"/>
                      </a:lnTo>
                      <a:lnTo>
                        <a:pt x="2976" y="1510"/>
                      </a:lnTo>
                      <a:lnTo>
                        <a:pt x="2940" y="1515"/>
                      </a:lnTo>
                      <a:lnTo>
                        <a:pt x="2900" y="1520"/>
                      </a:lnTo>
                      <a:lnTo>
                        <a:pt x="2854" y="1524"/>
                      </a:lnTo>
                      <a:lnTo>
                        <a:pt x="2800" y="1527"/>
                      </a:lnTo>
                      <a:lnTo>
                        <a:pt x="2738" y="1531"/>
                      </a:lnTo>
                      <a:lnTo>
                        <a:pt x="2648" y="1536"/>
                      </a:lnTo>
                      <a:lnTo>
                        <a:pt x="2568" y="1540"/>
                      </a:lnTo>
                      <a:lnTo>
                        <a:pt x="2497" y="1544"/>
                      </a:lnTo>
                      <a:lnTo>
                        <a:pt x="2432" y="1547"/>
                      </a:lnTo>
                      <a:lnTo>
                        <a:pt x="2372" y="1552"/>
                      </a:lnTo>
                      <a:lnTo>
                        <a:pt x="2317" y="1555"/>
                      </a:lnTo>
                      <a:lnTo>
                        <a:pt x="2263" y="1556"/>
                      </a:lnTo>
                      <a:lnTo>
                        <a:pt x="2213" y="1559"/>
                      </a:lnTo>
                      <a:lnTo>
                        <a:pt x="2162" y="1560"/>
                      </a:lnTo>
                      <a:lnTo>
                        <a:pt x="2110" y="1563"/>
                      </a:lnTo>
                      <a:lnTo>
                        <a:pt x="2056" y="1565"/>
                      </a:lnTo>
                      <a:lnTo>
                        <a:pt x="1996" y="1565"/>
                      </a:lnTo>
                      <a:lnTo>
                        <a:pt x="1934" y="1566"/>
                      </a:lnTo>
                      <a:lnTo>
                        <a:pt x="1864" y="1566"/>
                      </a:lnTo>
                      <a:lnTo>
                        <a:pt x="1788" y="1568"/>
                      </a:lnTo>
                      <a:lnTo>
                        <a:pt x="1702" y="1568"/>
                      </a:lnTo>
                      <a:lnTo>
                        <a:pt x="1606" y="1568"/>
                      </a:lnTo>
                      <a:lnTo>
                        <a:pt x="1574" y="1571"/>
                      </a:lnTo>
                      <a:lnTo>
                        <a:pt x="1538" y="1578"/>
                      </a:lnTo>
                      <a:lnTo>
                        <a:pt x="1502" y="1589"/>
                      </a:lnTo>
                      <a:lnTo>
                        <a:pt x="1463" y="1605"/>
                      </a:lnTo>
                      <a:lnTo>
                        <a:pt x="1422" y="1624"/>
                      </a:lnTo>
                      <a:lnTo>
                        <a:pt x="1380" y="1647"/>
                      </a:lnTo>
                      <a:lnTo>
                        <a:pt x="1338" y="1672"/>
                      </a:lnTo>
                      <a:lnTo>
                        <a:pt x="1296" y="1700"/>
                      </a:lnTo>
                      <a:lnTo>
                        <a:pt x="1252" y="1729"/>
                      </a:lnTo>
                      <a:lnTo>
                        <a:pt x="1210" y="1759"/>
                      </a:lnTo>
                      <a:lnTo>
                        <a:pt x="1168" y="1791"/>
                      </a:lnTo>
                      <a:lnTo>
                        <a:pt x="1127" y="1823"/>
                      </a:lnTo>
                      <a:lnTo>
                        <a:pt x="1088" y="1855"/>
                      </a:lnTo>
                      <a:lnTo>
                        <a:pt x="1049" y="1885"/>
                      </a:lnTo>
                      <a:lnTo>
                        <a:pt x="1014" y="1916"/>
                      </a:lnTo>
                      <a:lnTo>
                        <a:pt x="981" y="1945"/>
                      </a:lnTo>
                      <a:lnTo>
                        <a:pt x="949" y="1973"/>
                      </a:lnTo>
                      <a:lnTo>
                        <a:pt x="921" y="1997"/>
                      </a:lnTo>
                      <a:lnTo>
                        <a:pt x="897" y="2020"/>
                      </a:lnTo>
                      <a:lnTo>
                        <a:pt x="876" y="2039"/>
                      </a:lnTo>
                      <a:lnTo>
                        <a:pt x="859" y="2055"/>
                      </a:lnTo>
                      <a:lnTo>
                        <a:pt x="847" y="2067"/>
                      </a:lnTo>
                      <a:lnTo>
                        <a:pt x="839" y="2076"/>
                      </a:lnTo>
                      <a:lnTo>
                        <a:pt x="837" y="2077"/>
                      </a:lnTo>
                      <a:lnTo>
                        <a:pt x="0" y="1267"/>
                      </a:lnTo>
                      <a:lnTo>
                        <a:pt x="3" y="1263"/>
                      </a:lnTo>
                      <a:lnTo>
                        <a:pt x="9" y="1253"/>
                      </a:lnTo>
                      <a:lnTo>
                        <a:pt x="19" y="1237"/>
                      </a:lnTo>
                      <a:lnTo>
                        <a:pt x="33" y="1215"/>
                      </a:lnTo>
                      <a:lnTo>
                        <a:pt x="51" y="1189"/>
                      </a:lnTo>
                      <a:lnTo>
                        <a:pt x="73" y="1157"/>
                      </a:lnTo>
                      <a:lnTo>
                        <a:pt x="96" y="1121"/>
                      </a:lnTo>
                      <a:lnTo>
                        <a:pt x="123" y="1081"/>
                      </a:lnTo>
                      <a:lnTo>
                        <a:pt x="152" y="1038"/>
                      </a:lnTo>
                      <a:lnTo>
                        <a:pt x="184" y="993"/>
                      </a:lnTo>
                      <a:lnTo>
                        <a:pt x="219" y="945"/>
                      </a:lnTo>
                      <a:lnTo>
                        <a:pt x="255" y="896"/>
                      </a:lnTo>
                      <a:lnTo>
                        <a:pt x="293" y="845"/>
                      </a:lnTo>
                      <a:lnTo>
                        <a:pt x="332" y="793"/>
                      </a:lnTo>
                      <a:lnTo>
                        <a:pt x="373" y="742"/>
                      </a:lnTo>
                      <a:lnTo>
                        <a:pt x="415" y="690"/>
                      </a:lnTo>
                      <a:lnTo>
                        <a:pt x="457" y="639"/>
                      </a:lnTo>
                      <a:lnTo>
                        <a:pt x="501" y="589"/>
                      </a:lnTo>
                      <a:lnTo>
                        <a:pt x="544" y="542"/>
                      </a:lnTo>
                      <a:lnTo>
                        <a:pt x="588" y="495"/>
                      </a:lnTo>
                      <a:lnTo>
                        <a:pt x="631" y="452"/>
                      </a:lnTo>
                      <a:lnTo>
                        <a:pt x="675" y="412"/>
                      </a:lnTo>
                      <a:lnTo>
                        <a:pt x="717" y="375"/>
                      </a:lnTo>
                      <a:lnTo>
                        <a:pt x="759" y="343"/>
                      </a:lnTo>
                      <a:lnTo>
                        <a:pt x="799" y="315"/>
                      </a:lnTo>
                      <a:lnTo>
                        <a:pt x="839" y="292"/>
                      </a:lnTo>
                      <a:lnTo>
                        <a:pt x="878" y="275"/>
                      </a:lnTo>
                      <a:lnTo>
                        <a:pt x="931" y="257"/>
                      </a:lnTo>
                      <a:lnTo>
                        <a:pt x="994" y="243"/>
                      </a:lnTo>
                      <a:lnTo>
                        <a:pt x="1062" y="230"/>
                      </a:lnTo>
                      <a:lnTo>
                        <a:pt x="1136" y="219"/>
                      </a:lnTo>
                      <a:lnTo>
                        <a:pt x="1216" y="212"/>
                      </a:lnTo>
                      <a:lnTo>
                        <a:pt x="1299" y="205"/>
                      </a:lnTo>
                      <a:lnTo>
                        <a:pt x="1386" y="199"/>
                      </a:lnTo>
                      <a:lnTo>
                        <a:pt x="1476" y="193"/>
                      </a:lnTo>
                      <a:lnTo>
                        <a:pt x="1567" y="187"/>
                      </a:lnTo>
                      <a:lnTo>
                        <a:pt x="1660" y="182"/>
                      </a:lnTo>
                      <a:lnTo>
                        <a:pt x="1754" y="176"/>
                      </a:lnTo>
                      <a:lnTo>
                        <a:pt x="1847" y="169"/>
                      </a:lnTo>
                      <a:lnTo>
                        <a:pt x="1940" y="158"/>
                      </a:lnTo>
                      <a:lnTo>
                        <a:pt x="2031" y="148"/>
                      </a:lnTo>
                      <a:lnTo>
                        <a:pt x="2136" y="132"/>
                      </a:lnTo>
                      <a:lnTo>
                        <a:pt x="2233" y="118"/>
                      </a:lnTo>
                      <a:lnTo>
                        <a:pt x="2320" y="103"/>
                      </a:lnTo>
                      <a:lnTo>
                        <a:pt x="2400" y="90"/>
                      </a:lnTo>
                      <a:lnTo>
                        <a:pt x="2472" y="77"/>
                      </a:lnTo>
                      <a:lnTo>
                        <a:pt x="2539" y="64"/>
                      </a:lnTo>
                      <a:lnTo>
                        <a:pt x="2601" y="52"/>
                      </a:lnTo>
                      <a:lnTo>
                        <a:pt x="2660" y="42"/>
                      </a:lnTo>
                      <a:lnTo>
                        <a:pt x="2715" y="32"/>
                      </a:lnTo>
                      <a:lnTo>
                        <a:pt x="2767" y="23"/>
                      </a:lnTo>
                      <a:lnTo>
                        <a:pt x="2818" y="16"/>
                      </a:lnTo>
                      <a:lnTo>
                        <a:pt x="2867" y="9"/>
                      </a:lnTo>
                      <a:lnTo>
                        <a:pt x="2918" y="5"/>
                      </a:lnTo>
                      <a:lnTo>
                        <a:pt x="2970" y="2"/>
                      </a:lnTo>
                      <a:lnTo>
                        <a:pt x="302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56" name="Freeform 86">
                  <a:extLst>
                    <a:ext uri="{FF2B5EF4-FFF2-40B4-BE49-F238E27FC236}">
                      <a16:creationId xmlns:a16="http://schemas.microsoft.com/office/drawing/2014/main" id="{198DF10D-A2BE-4FA7-925A-43DECDBA5DF7}"/>
                    </a:ext>
                  </a:extLst>
                </p:cNvPr>
                <p:cNvSpPr>
                  <a:spLocks/>
                </p:cNvSpPr>
                <p:nvPr/>
              </p:nvSpPr>
              <p:spPr bwMode="auto">
                <a:xfrm>
                  <a:off x="2392" y="913"/>
                  <a:ext cx="844" cy="849"/>
                </a:xfrm>
                <a:custGeom>
                  <a:avLst/>
                  <a:gdLst>
                    <a:gd name="T0" fmla="*/ 1666 w 1689"/>
                    <a:gd name="T1" fmla="*/ 1 h 1699"/>
                    <a:gd name="T2" fmla="*/ 1686 w 1689"/>
                    <a:gd name="T3" fmla="*/ 22 h 1699"/>
                    <a:gd name="T4" fmla="*/ 1676 w 1689"/>
                    <a:gd name="T5" fmla="*/ 157 h 1699"/>
                    <a:gd name="T6" fmla="*/ 1630 w 1689"/>
                    <a:gd name="T7" fmla="*/ 392 h 1699"/>
                    <a:gd name="T8" fmla="*/ 1556 w 1689"/>
                    <a:gd name="T9" fmla="*/ 618 h 1699"/>
                    <a:gd name="T10" fmla="*/ 1456 w 1689"/>
                    <a:gd name="T11" fmla="*/ 830 h 1699"/>
                    <a:gd name="T12" fmla="*/ 1345 w 1689"/>
                    <a:gd name="T13" fmla="*/ 1003 h 1699"/>
                    <a:gd name="T14" fmla="*/ 1223 w 1689"/>
                    <a:gd name="T15" fmla="*/ 1152 h 1699"/>
                    <a:gd name="T16" fmla="*/ 1081 w 1689"/>
                    <a:gd name="T17" fmla="*/ 1297 h 1699"/>
                    <a:gd name="T18" fmla="*/ 929 w 1689"/>
                    <a:gd name="T19" fmla="*/ 1428 h 1699"/>
                    <a:gd name="T20" fmla="*/ 811 w 1689"/>
                    <a:gd name="T21" fmla="*/ 1512 h 1699"/>
                    <a:gd name="T22" fmla="*/ 675 w 1689"/>
                    <a:gd name="T23" fmla="*/ 1592 h 1699"/>
                    <a:gd name="T24" fmla="*/ 526 w 1689"/>
                    <a:gd name="T25" fmla="*/ 1656 h 1699"/>
                    <a:gd name="T26" fmla="*/ 367 w 1689"/>
                    <a:gd name="T27" fmla="*/ 1694 h 1699"/>
                    <a:gd name="T28" fmla="*/ 248 w 1689"/>
                    <a:gd name="T29" fmla="*/ 1698 h 1699"/>
                    <a:gd name="T30" fmla="*/ 196 w 1689"/>
                    <a:gd name="T31" fmla="*/ 1688 h 1699"/>
                    <a:gd name="T32" fmla="*/ 180 w 1689"/>
                    <a:gd name="T33" fmla="*/ 1660 h 1699"/>
                    <a:gd name="T34" fmla="*/ 246 w 1689"/>
                    <a:gd name="T35" fmla="*/ 1518 h 1699"/>
                    <a:gd name="T36" fmla="*/ 395 w 1689"/>
                    <a:gd name="T37" fmla="*/ 1260 h 1699"/>
                    <a:gd name="T38" fmla="*/ 584 w 1689"/>
                    <a:gd name="T39" fmla="*/ 1000 h 1699"/>
                    <a:gd name="T40" fmla="*/ 808 w 1689"/>
                    <a:gd name="T41" fmla="*/ 742 h 1699"/>
                    <a:gd name="T42" fmla="*/ 836 w 1689"/>
                    <a:gd name="T43" fmla="*/ 685 h 1699"/>
                    <a:gd name="T44" fmla="*/ 646 w 1689"/>
                    <a:gd name="T45" fmla="*/ 845 h 1699"/>
                    <a:gd name="T46" fmla="*/ 476 w 1689"/>
                    <a:gd name="T47" fmla="*/ 1017 h 1699"/>
                    <a:gd name="T48" fmla="*/ 324 w 1689"/>
                    <a:gd name="T49" fmla="*/ 1197 h 1699"/>
                    <a:gd name="T50" fmla="*/ 190 w 1689"/>
                    <a:gd name="T51" fmla="*/ 1379 h 1699"/>
                    <a:gd name="T52" fmla="*/ 76 w 1689"/>
                    <a:gd name="T53" fmla="*/ 1553 h 1699"/>
                    <a:gd name="T54" fmla="*/ 53 w 1689"/>
                    <a:gd name="T55" fmla="*/ 1569 h 1699"/>
                    <a:gd name="T56" fmla="*/ 25 w 1689"/>
                    <a:gd name="T57" fmla="*/ 1563 h 1699"/>
                    <a:gd name="T58" fmla="*/ 10 w 1689"/>
                    <a:gd name="T59" fmla="*/ 1540 h 1699"/>
                    <a:gd name="T60" fmla="*/ 0 w 1689"/>
                    <a:gd name="T61" fmla="*/ 1370 h 1699"/>
                    <a:gd name="T62" fmla="*/ 22 w 1689"/>
                    <a:gd name="T63" fmla="*/ 1197 h 1699"/>
                    <a:gd name="T64" fmla="*/ 71 w 1689"/>
                    <a:gd name="T65" fmla="*/ 1023 h 1699"/>
                    <a:gd name="T66" fmla="*/ 153 w 1689"/>
                    <a:gd name="T67" fmla="*/ 849 h 1699"/>
                    <a:gd name="T68" fmla="*/ 235 w 1689"/>
                    <a:gd name="T69" fmla="*/ 711 h 1699"/>
                    <a:gd name="T70" fmla="*/ 301 w 1689"/>
                    <a:gd name="T71" fmla="*/ 624 h 1699"/>
                    <a:gd name="T72" fmla="*/ 360 w 1689"/>
                    <a:gd name="T73" fmla="*/ 552 h 1699"/>
                    <a:gd name="T74" fmla="*/ 411 w 1689"/>
                    <a:gd name="T75" fmla="*/ 496 h 1699"/>
                    <a:gd name="T76" fmla="*/ 446 w 1689"/>
                    <a:gd name="T77" fmla="*/ 460 h 1699"/>
                    <a:gd name="T78" fmla="*/ 463 w 1689"/>
                    <a:gd name="T79" fmla="*/ 443 h 1699"/>
                    <a:gd name="T80" fmla="*/ 597 w 1689"/>
                    <a:gd name="T81" fmla="*/ 331 h 1699"/>
                    <a:gd name="T82" fmla="*/ 743 w 1689"/>
                    <a:gd name="T83" fmla="*/ 239 h 1699"/>
                    <a:gd name="T84" fmla="*/ 900 w 1689"/>
                    <a:gd name="T85" fmla="*/ 165 h 1699"/>
                    <a:gd name="T86" fmla="*/ 1060 w 1689"/>
                    <a:gd name="T87" fmla="*/ 109 h 1699"/>
                    <a:gd name="T88" fmla="*/ 1215 w 1689"/>
                    <a:gd name="T89" fmla="*/ 67 h 1699"/>
                    <a:gd name="T90" fmla="*/ 1361 w 1689"/>
                    <a:gd name="T91" fmla="*/ 36 h 1699"/>
                    <a:gd name="T92" fmla="*/ 1495 w 1689"/>
                    <a:gd name="T93" fmla="*/ 16 h 1699"/>
                    <a:gd name="T94" fmla="*/ 1605 w 1689"/>
                    <a:gd name="T95" fmla="*/ 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89" h="1699">
                      <a:moveTo>
                        <a:pt x="1651" y="0"/>
                      </a:moveTo>
                      <a:lnTo>
                        <a:pt x="1666" y="1"/>
                      </a:lnTo>
                      <a:lnTo>
                        <a:pt x="1679" y="10"/>
                      </a:lnTo>
                      <a:lnTo>
                        <a:pt x="1686" y="22"/>
                      </a:lnTo>
                      <a:lnTo>
                        <a:pt x="1689" y="38"/>
                      </a:lnTo>
                      <a:lnTo>
                        <a:pt x="1676" y="157"/>
                      </a:lnTo>
                      <a:lnTo>
                        <a:pt x="1657" y="274"/>
                      </a:lnTo>
                      <a:lnTo>
                        <a:pt x="1630" y="392"/>
                      </a:lnTo>
                      <a:lnTo>
                        <a:pt x="1596" y="507"/>
                      </a:lnTo>
                      <a:lnTo>
                        <a:pt x="1556" y="618"/>
                      </a:lnTo>
                      <a:lnTo>
                        <a:pt x="1509" y="726"/>
                      </a:lnTo>
                      <a:lnTo>
                        <a:pt x="1456" y="830"/>
                      </a:lnTo>
                      <a:lnTo>
                        <a:pt x="1396" y="929"/>
                      </a:lnTo>
                      <a:lnTo>
                        <a:pt x="1345" y="1003"/>
                      </a:lnTo>
                      <a:lnTo>
                        <a:pt x="1287" y="1078"/>
                      </a:lnTo>
                      <a:lnTo>
                        <a:pt x="1223" y="1152"/>
                      </a:lnTo>
                      <a:lnTo>
                        <a:pt x="1154" y="1226"/>
                      </a:lnTo>
                      <a:lnTo>
                        <a:pt x="1081" y="1297"/>
                      </a:lnTo>
                      <a:lnTo>
                        <a:pt x="1006" y="1364"/>
                      </a:lnTo>
                      <a:lnTo>
                        <a:pt x="929" y="1428"/>
                      </a:lnTo>
                      <a:lnTo>
                        <a:pt x="872" y="1470"/>
                      </a:lnTo>
                      <a:lnTo>
                        <a:pt x="811" y="1512"/>
                      </a:lnTo>
                      <a:lnTo>
                        <a:pt x="745" y="1553"/>
                      </a:lnTo>
                      <a:lnTo>
                        <a:pt x="675" y="1592"/>
                      </a:lnTo>
                      <a:lnTo>
                        <a:pt x="601" y="1627"/>
                      </a:lnTo>
                      <a:lnTo>
                        <a:pt x="526" y="1656"/>
                      </a:lnTo>
                      <a:lnTo>
                        <a:pt x="447" y="1679"/>
                      </a:lnTo>
                      <a:lnTo>
                        <a:pt x="367" y="1694"/>
                      </a:lnTo>
                      <a:lnTo>
                        <a:pt x="286" y="1699"/>
                      </a:lnTo>
                      <a:lnTo>
                        <a:pt x="248" y="1698"/>
                      </a:lnTo>
                      <a:lnTo>
                        <a:pt x="211" y="1694"/>
                      </a:lnTo>
                      <a:lnTo>
                        <a:pt x="196" y="1688"/>
                      </a:lnTo>
                      <a:lnTo>
                        <a:pt x="185" y="1676"/>
                      </a:lnTo>
                      <a:lnTo>
                        <a:pt x="180" y="1660"/>
                      </a:lnTo>
                      <a:lnTo>
                        <a:pt x="183" y="1644"/>
                      </a:lnTo>
                      <a:lnTo>
                        <a:pt x="246" y="1518"/>
                      </a:lnTo>
                      <a:lnTo>
                        <a:pt x="315" y="1389"/>
                      </a:lnTo>
                      <a:lnTo>
                        <a:pt x="395" y="1260"/>
                      </a:lnTo>
                      <a:lnTo>
                        <a:pt x="485" y="1131"/>
                      </a:lnTo>
                      <a:lnTo>
                        <a:pt x="584" y="1000"/>
                      </a:lnTo>
                      <a:lnTo>
                        <a:pt x="691" y="871"/>
                      </a:lnTo>
                      <a:lnTo>
                        <a:pt x="808" y="742"/>
                      </a:lnTo>
                      <a:lnTo>
                        <a:pt x="936" y="614"/>
                      </a:lnTo>
                      <a:lnTo>
                        <a:pt x="836" y="685"/>
                      </a:lnTo>
                      <a:lnTo>
                        <a:pt x="739" y="763"/>
                      </a:lnTo>
                      <a:lnTo>
                        <a:pt x="646" y="845"/>
                      </a:lnTo>
                      <a:lnTo>
                        <a:pt x="559" y="930"/>
                      </a:lnTo>
                      <a:lnTo>
                        <a:pt x="476" y="1017"/>
                      </a:lnTo>
                      <a:lnTo>
                        <a:pt x="398" y="1107"/>
                      </a:lnTo>
                      <a:lnTo>
                        <a:pt x="324" y="1197"/>
                      </a:lnTo>
                      <a:lnTo>
                        <a:pt x="254" y="1289"/>
                      </a:lnTo>
                      <a:lnTo>
                        <a:pt x="190" y="1379"/>
                      </a:lnTo>
                      <a:lnTo>
                        <a:pt x="131" y="1467"/>
                      </a:lnTo>
                      <a:lnTo>
                        <a:pt x="76" y="1553"/>
                      </a:lnTo>
                      <a:lnTo>
                        <a:pt x="66" y="1563"/>
                      </a:lnTo>
                      <a:lnTo>
                        <a:pt x="53" y="1569"/>
                      </a:lnTo>
                      <a:lnTo>
                        <a:pt x="38" y="1569"/>
                      </a:lnTo>
                      <a:lnTo>
                        <a:pt x="25" y="1563"/>
                      </a:lnTo>
                      <a:lnTo>
                        <a:pt x="16" y="1553"/>
                      </a:lnTo>
                      <a:lnTo>
                        <a:pt x="10" y="1540"/>
                      </a:lnTo>
                      <a:lnTo>
                        <a:pt x="2" y="1456"/>
                      </a:lnTo>
                      <a:lnTo>
                        <a:pt x="0" y="1370"/>
                      </a:lnTo>
                      <a:lnTo>
                        <a:pt x="8" y="1284"/>
                      </a:lnTo>
                      <a:lnTo>
                        <a:pt x="22" y="1197"/>
                      </a:lnTo>
                      <a:lnTo>
                        <a:pt x="42" y="1110"/>
                      </a:lnTo>
                      <a:lnTo>
                        <a:pt x="71" y="1023"/>
                      </a:lnTo>
                      <a:lnTo>
                        <a:pt x="109" y="936"/>
                      </a:lnTo>
                      <a:lnTo>
                        <a:pt x="153" y="849"/>
                      </a:lnTo>
                      <a:lnTo>
                        <a:pt x="203" y="762"/>
                      </a:lnTo>
                      <a:lnTo>
                        <a:pt x="235" y="711"/>
                      </a:lnTo>
                      <a:lnTo>
                        <a:pt x="269" y="666"/>
                      </a:lnTo>
                      <a:lnTo>
                        <a:pt x="301" y="624"/>
                      </a:lnTo>
                      <a:lnTo>
                        <a:pt x="331" y="585"/>
                      </a:lnTo>
                      <a:lnTo>
                        <a:pt x="360" y="552"/>
                      </a:lnTo>
                      <a:lnTo>
                        <a:pt x="386" y="521"/>
                      </a:lnTo>
                      <a:lnTo>
                        <a:pt x="411" y="496"/>
                      </a:lnTo>
                      <a:lnTo>
                        <a:pt x="430" y="475"/>
                      </a:lnTo>
                      <a:lnTo>
                        <a:pt x="446" y="460"/>
                      </a:lnTo>
                      <a:lnTo>
                        <a:pt x="457" y="448"/>
                      </a:lnTo>
                      <a:lnTo>
                        <a:pt x="463" y="443"/>
                      </a:lnTo>
                      <a:lnTo>
                        <a:pt x="528" y="385"/>
                      </a:lnTo>
                      <a:lnTo>
                        <a:pt x="597" y="331"/>
                      </a:lnTo>
                      <a:lnTo>
                        <a:pt x="669" y="283"/>
                      </a:lnTo>
                      <a:lnTo>
                        <a:pt x="743" y="239"/>
                      </a:lnTo>
                      <a:lnTo>
                        <a:pt x="822" y="200"/>
                      </a:lnTo>
                      <a:lnTo>
                        <a:pt x="900" y="165"/>
                      </a:lnTo>
                      <a:lnTo>
                        <a:pt x="980" y="135"/>
                      </a:lnTo>
                      <a:lnTo>
                        <a:pt x="1060" y="109"/>
                      </a:lnTo>
                      <a:lnTo>
                        <a:pt x="1138" y="86"/>
                      </a:lnTo>
                      <a:lnTo>
                        <a:pt x="1215" y="67"/>
                      </a:lnTo>
                      <a:lnTo>
                        <a:pt x="1290" y="49"/>
                      </a:lnTo>
                      <a:lnTo>
                        <a:pt x="1361" y="36"/>
                      </a:lnTo>
                      <a:lnTo>
                        <a:pt x="1431" y="25"/>
                      </a:lnTo>
                      <a:lnTo>
                        <a:pt x="1495" y="16"/>
                      </a:lnTo>
                      <a:lnTo>
                        <a:pt x="1553" y="9"/>
                      </a:lnTo>
                      <a:lnTo>
                        <a:pt x="1605" y="3"/>
                      </a:lnTo>
                      <a:lnTo>
                        <a:pt x="165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57" name="Freeform 87">
                  <a:extLst>
                    <a:ext uri="{FF2B5EF4-FFF2-40B4-BE49-F238E27FC236}">
                      <a16:creationId xmlns:a16="http://schemas.microsoft.com/office/drawing/2014/main" id="{0A762AED-B036-44A5-B410-F30C3544B0FF}"/>
                    </a:ext>
                  </a:extLst>
                </p:cNvPr>
                <p:cNvSpPr>
                  <a:spLocks/>
                </p:cNvSpPr>
                <p:nvPr/>
              </p:nvSpPr>
              <p:spPr bwMode="auto">
                <a:xfrm>
                  <a:off x="1570" y="1202"/>
                  <a:ext cx="805" cy="810"/>
                </a:xfrm>
                <a:custGeom>
                  <a:avLst/>
                  <a:gdLst>
                    <a:gd name="T0" fmla="*/ 83 w 1609"/>
                    <a:gd name="T1" fmla="*/ 4 h 1620"/>
                    <a:gd name="T2" fmla="*/ 197 w 1609"/>
                    <a:gd name="T3" fmla="*/ 16 h 1620"/>
                    <a:gd name="T4" fmla="*/ 334 w 1609"/>
                    <a:gd name="T5" fmla="*/ 38 h 1620"/>
                    <a:gd name="T6" fmla="*/ 485 w 1609"/>
                    <a:gd name="T7" fmla="*/ 71 h 1620"/>
                    <a:gd name="T8" fmla="*/ 644 w 1609"/>
                    <a:gd name="T9" fmla="*/ 118 h 1620"/>
                    <a:gd name="T10" fmla="*/ 804 w 1609"/>
                    <a:gd name="T11" fmla="*/ 180 h 1620"/>
                    <a:gd name="T12" fmla="*/ 960 w 1609"/>
                    <a:gd name="T13" fmla="*/ 261 h 1620"/>
                    <a:gd name="T14" fmla="*/ 1103 w 1609"/>
                    <a:gd name="T15" fmla="*/ 363 h 1620"/>
                    <a:gd name="T16" fmla="*/ 1174 w 1609"/>
                    <a:gd name="T17" fmla="*/ 428 h 1620"/>
                    <a:gd name="T18" fmla="*/ 1200 w 1609"/>
                    <a:gd name="T19" fmla="*/ 453 h 1620"/>
                    <a:gd name="T20" fmla="*/ 1242 w 1609"/>
                    <a:gd name="T21" fmla="*/ 496 h 1620"/>
                    <a:gd name="T22" fmla="*/ 1294 w 1609"/>
                    <a:gd name="T23" fmla="*/ 557 h 1620"/>
                    <a:gd name="T24" fmla="*/ 1354 w 1609"/>
                    <a:gd name="T25" fmla="*/ 634 h 1620"/>
                    <a:gd name="T26" fmla="*/ 1416 w 1609"/>
                    <a:gd name="T27" fmla="*/ 726 h 1620"/>
                    <a:gd name="T28" fmla="*/ 1516 w 1609"/>
                    <a:gd name="T29" fmla="*/ 913 h 1620"/>
                    <a:gd name="T30" fmla="*/ 1580 w 1609"/>
                    <a:gd name="T31" fmla="*/ 1100 h 1620"/>
                    <a:gd name="T32" fmla="*/ 1609 w 1609"/>
                    <a:gd name="T33" fmla="*/ 1286 h 1620"/>
                    <a:gd name="T34" fmla="*/ 1600 w 1609"/>
                    <a:gd name="T35" fmla="*/ 1467 h 1620"/>
                    <a:gd name="T36" fmla="*/ 1586 w 1609"/>
                    <a:gd name="T37" fmla="*/ 1489 h 1620"/>
                    <a:gd name="T38" fmla="*/ 1560 w 1609"/>
                    <a:gd name="T39" fmla="*/ 1495 h 1620"/>
                    <a:gd name="T40" fmla="*/ 1538 w 1609"/>
                    <a:gd name="T41" fmla="*/ 1480 h 1620"/>
                    <a:gd name="T42" fmla="*/ 1429 w 1609"/>
                    <a:gd name="T43" fmla="*/ 1314 h 1620"/>
                    <a:gd name="T44" fmla="*/ 1301 w 1609"/>
                    <a:gd name="T45" fmla="*/ 1142 h 1620"/>
                    <a:gd name="T46" fmla="*/ 1156 w 1609"/>
                    <a:gd name="T47" fmla="*/ 970 h 1620"/>
                    <a:gd name="T48" fmla="*/ 994 w 1609"/>
                    <a:gd name="T49" fmla="*/ 806 h 1620"/>
                    <a:gd name="T50" fmla="*/ 814 w 1609"/>
                    <a:gd name="T51" fmla="*/ 653 h 1620"/>
                    <a:gd name="T52" fmla="*/ 839 w 1609"/>
                    <a:gd name="T53" fmla="*/ 707 h 1620"/>
                    <a:gd name="T54" fmla="*/ 1055 w 1609"/>
                    <a:gd name="T55" fmla="*/ 954 h 1620"/>
                    <a:gd name="T56" fmla="*/ 1233 w 1609"/>
                    <a:gd name="T57" fmla="*/ 1202 h 1620"/>
                    <a:gd name="T58" fmla="*/ 1377 w 1609"/>
                    <a:gd name="T59" fmla="*/ 1447 h 1620"/>
                    <a:gd name="T60" fmla="*/ 1438 w 1609"/>
                    <a:gd name="T61" fmla="*/ 1582 h 1620"/>
                    <a:gd name="T62" fmla="*/ 1423 w 1609"/>
                    <a:gd name="T63" fmla="*/ 1610 h 1620"/>
                    <a:gd name="T64" fmla="*/ 1374 w 1609"/>
                    <a:gd name="T65" fmla="*/ 1618 h 1620"/>
                    <a:gd name="T66" fmla="*/ 1261 w 1609"/>
                    <a:gd name="T67" fmla="*/ 1614 h 1620"/>
                    <a:gd name="T68" fmla="*/ 1110 w 1609"/>
                    <a:gd name="T69" fmla="*/ 1579 h 1620"/>
                    <a:gd name="T70" fmla="*/ 966 w 1609"/>
                    <a:gd name="T71" fmla="*/ 1517 h 1620"/>
                    <a:gd name="T72" fmla="*/ 837 w 1609"/>
                    <a:gd name="T73" fmla="*/ 1441 h 1620"/>
                    <a:gd name="T74" fmla="*/ 725 w 1609"/>
                    <a:gd name="T75" fmla="*/ 1361 h 1620"/>
                    <a:gd name="T76" fmla="*/ 579 w 1609"/>
                    <a:gd name="T77" fmla="*/ 1237 h 1620"/>
                    <a:gd name="T78" fmla="*/ 444 w 1609"/>
                    <a:gd name="T79" fmla="*/ 1099 h 1620"/>
                    <a:gd name="T80" fmla="*/ 328 w 1609"/>
                    <a:gd name="T81" fmla="*/ 957 h 1620"/>
                    <a:gd name="T82" fmla="*/ 223 w 1609"/>
                    <a:gd name="T83" fmla="*/ 791 h 1620"/>
                    <a:gd name="T84" fmla="*/ 128 w 1609"/>
                    <a:gd name="T85" fmla="*/ 589 h 1620"/>
                    <a:gd name="T86" fmla="*/ 56 w 1609"/>
                    <a:gd name="T87" fmla="*/ 373 h 1620"/>
                    <a:gd name="T88" fmla="*/ 12 w 1609"/>
                    <a:gd name="T89" fmla="*/ 150 h 1620"/>
                    <a:gd name="T90" fmla="*/ 3 w 1609"/>
                    <a:gd name="T91" fmla="*/ 22 h 1620"/>
                    <a:gd name="T92" fmla="*/ 22 w 1609"/>
                    <a:gd name="T93" fmla="*/ 2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9" h="1620">
                      <a:moveTo>
                        <a:pt x="36" y="0"/>
                      </a:moveTo>
                      <a:lnTo>
                        <a:pt x="83" y="4"/>
                      </a:lnTo>
                      <a:lnTo>
                        <a:pt x="136" y="9"/>
                      </a:lnTo>
                      <a:lnTo>
                        <a:pt x="197" y="16"/>
                      </a:lnTo>
                      <a:lnTo>
                        <a:pt x="263" y="26"/>
                      </a:lnTo>
                      <a:lnTo>
                        <a:pt x="334" y="38"/>
                      </a:lnTo>
                      <a:lnTo>
                        <a:pt x="408" y="54"/>
                      </a:lnTo>
                      <a:lnTo>
                        <a:pt x="485" y="71"/>
                      </a:lnTo>
                      <a:lnTo>
                        <a:pt x="563" y="93"/>
                      </a:lnTo>
                      <a:lnTo>
                        <a:pt x="644" y="118"/>
                      </a:lnTo>
                      <a:lnTo>
                        <a:pt x="724" y="147"/>
                      </a:lnTo>
                      <a:lnTo>
                        <a:pt x="804" y="180"/>
                      </a:lnTo>
                      <a:lnTo>
                        <a:pt x="884" y="218"/>
                      </a:lnTo>
                      <a:lnTo>
                        <a:pt x="960" y="261"/>
                      </a:lnTo>
                      <a:lnTo>
                        <a:pt x="1033" y="309"/>
                      </a:lnTo>
                      <a:lnTo>
                        <a:pt x="1103" y="363"/>
                      </a:lnTo>
                      <a:lnTo>
                        <a:pt x="1168" y="422"/>
                      </a:lnTo>
                      <a:lnTo>
                        <a:pt x="1174" y="428"/>
                      </a:lnTo>
                      <a:lnTo>
                        <a:pt x="1185" y="438"/>
                      </a:lnTo>
                      <a:lnTo>
                        <a:pt x="1200" y="453"/>
                      </a:lnTo>
                      <a:lnTo>
                        <a:pt x="1219" y="473"/>
                      </a:lnTo>
                      <a:lnTo>
                        <a:pt x="1242" y="496"/>
                      </a:lnTo>
                      <a:lnTo>
                        <a:pt x="1267" y="525"/>
                      </a:lnTo>
                      <a:lnTo>
                        <a:pt x="1294" y="557"/>
                      </a:lnTo>
                      <a:lnTo>
                        <a:pt x="1323" y="594"/>
                      </a:lnTo>
                      <a:lnTo>
                        <a:pt x="1354" y="634"/>
                      </a:lnTo>
                      <a:lnTo>
                        <a:pt x="1386" y="679"/>
                      </a:lnTo>
                      <a:lnTo>
                        <a:pt x="1416" y="726"/>
                      </a:lnTo>
                      <a:lnTo>
                        <a:pt x="1471" y="819"/>
                      </a:lnTo>
                      <a:lnTo>
                        <a:pt x="1516" y="913"/>
                      </a:lnTo>
                      <a:lnTo>
                        <a:pt x="1552" y="1007"/>
                      </a:lnTo>
                      <a:lnTo>
                        <a:pt x="1580" y="1100"/>
                      </a:lnTo>
                      <a:lnTo>
                        <a:pt x="1599" y="1193"/>
                      </a:lnTo>
                      <a:lnTo>
                        <a:pt x="1609" y="1286"/>
                      </a:lnTo>
                      <a:lnTo>
                        <a:pt x="1609" y="1377"/>
                      </a:lnTo>
                      <a:lnTo>
                        <a:pt x="1600" y="1467"/>
                      </a:lnTo>
                      <a:lnTo>
                        <a:pt x="1594" y="1480"/>
                      </a:lnTo>
                      <a:lnTo>
                        <a:pt x="1586" y="1489"/>
                      </a:lnTo>
                      <a:lnTo>
                        <a:pt x="1573" y="1495"/>
                      </a:lnTo>
                      <a:lnTo>
                        <a:pt x="1560" y="1495"/>
                      </a:lnTo>
                      <a:lnTo>
                        <a:pt x="1548" y="1489"/>
                      </a:lnTo>
                      <a:lnTo>
                        <a:pt x="1538" y="1480"/>
                      </a:lnTo>
                      <a:lnTo>
                        <a:pt x="1486" y="1398"/>
                      </a:lnTo>
                      <a:lnTo>
                        <a:pt x="1429" y="1314"/>
                      </a:lnTo>
                      <a:lnTo>
                        <a:pt x="1368" y="1228"/>
                      </a:lnTo>
                      <a:lnTo>
                        <a:pt x="1301" y="1142"/>
                      </a:lnTo>
                      <a:lnTo>
                        <a:pt x="1232" y="1055"/>
                      </a:lnTo>
                      <a:lnTo>
                        <a:pt x="1156" y="970"/>
                      </a:lnTo>
                      <a:lnTo>
                        <a:pt x="1078" y="887"/>
                      </a:lnTo>
                      <a:lnTo>
                        <a:pt x="994" y="806"/>
                      </a:lnTo>
                      <a:lnTo>
                        <a:pt x="907" y="727"/>
                      </a:lnTo>
                      <a:lnTo>
                        <a:pt x="814" y="653"/>
                      </a:lnTo>
                      <a:lnTo>
                        <a:pt x="718" y="585"/>
                      </a:lnTo>
                      <a:lnTo>
                        <a:pt x="839" y="707"/>
                      </a:lnTo>
                      <a:lnTo>
                        <a:pt x="952" y="830"/>
                      </a:lnTo>
                      <a:lnTo>
                        <a:pt x="1055" y="954"/>
                      </a:lnTo>
                      <a:lnTo>
                        <a:pt x="1149" y="1077"/>
                      </a:lnTo>
                      <a:lnTo>
                        <a:pt x="1233" y="1202"/>
                      </a:lnTo>
                      <a:lnTo>
                        <a:pt x="1310" y="1325"/>
                      </a:lnTo>
                      <a:lnTo>
                        <a:pt x="1377" y="1447"/>
                      </a:lnTo>
                      <a:lnTo>
                        <a:pt x="1435" y="1568"/>
                      </a:lnTo>
                      <a:lnTo>
                        <a:pt x="1438" y="1582"/>
                      </a:lnTo>
                      <a:lnTo>
                        <a:pt x="1433" y="1598"/>
                      </a:lnTo>
                      <a:lnTo>
                        <a:pt x="1423" y="1610"/>
                      </a:lnTo>
                      <a:lnTo>
                        <a:pt x="1409" y="1614"/>
                      </a:lnTo>
                      <a:lnTo>
                        <a:pt x="1374" y="1618"/>
                      </a:lnTo>
                      <a:lnTo>
                        <a:pt x="1336" y="1620"/>
                      </a:lnTo>
                      <a:lnTo>
                        <a:pt x="1261" y="1614"/>
                      </a:lnTo>
                      <a:lnTo>
                        <a:pt x="1184" y="1601"/>
                      </a:lnTo>
                      <a:lnTo>
                        <a:pt x="1110" y="1579"/>
                      </a:lnTo>
                      <a:lnTo>
                        <a:pt x="1037" y="1550"/>
                      </a:lnTo>
                      <a:lnTo>
                        <a:pt x="966" y="1517"/>
                      </a:lnTo>
                      <a:lnTo>
                        <a:pt x="899" y="1480"/>
                      </a:lnTo>
                      <a:lnTo>
                        <a:pt x="837" y="1441"/>
                      </a:lnTo>
                      <a:lnTo>
                        <a:pt x="779" y="1401"/>
                      </a:lnTo>
                      <a:lnTo>
                        <a:pt x="725" y="1361"/>
                      </a:lnTo>
                      <a:lnTo>
                        <a:pt x="651" y="1300"/>
                      </a:lnTo>
                      <a:lnTo>
                        <a:pt x="579" y="1237"/>
                      </a:lnTo>
                      <a:lnTo>
                        <a:pt x="511" y="1168"/>
                      </a:lnTo>
                      <a:lnTo>
                        <a:pt x="444" y="1099"/>
                      </a:lnTo>
                      <a:lnTo>
                        <a:pt x="383" y="1028"/>
                      </a:lnTo>
                      <a:lnTo>
                        <a:pt x="328" y="957"/>
                      </a:lnTo>
                      <a:lnTo>
                        <a:pt x="280" y="885"/>
                      </a:lnTo>
                      <a:lnTo>
                        <a:pt x="223" y="791"/>
                      </a:lnTo>
                      <a:lnTo>
                        <a:pt x="173" y="692"/>
                      </a:lnTo>
                      <a:lnTo>
                        <a:pt x="128" y="589"/>
                      </a:lnTo>
                      <a:lnTo>
                        <a:pt x="88" y="482"/>
                      </a:lnTo>
                      <a:lnTo>
                        <a:pt x="56" y="373"/>
                      </a:lnTo>
                      <a:lnTo>
                        <a:pt x="30" y="261"/>
                      </a:lnTo>
                      <a:lnTo>
                        <a:pt x="12" y="150"/>
                      </a:lnTo>
                      <a:lnTo>
                        <a:pt x="0" y="36"/>
                      </a:lnTo>
                      <a:lnTo>
                        <a:pt x="3" y="22"/>
                      </a:lnTo>
                      <a:lnTo>
                        <a:pt x="10" y="10"/>
                      </a:lnTo>
                      <a:lnTo>
                        <a:pt x="22" y="2"/>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58" name="Freeform 88">
                  <a:extLst>
                    <a:ext uri="{FF2B5EF4-FFF2-40B4-BE49-F238E27FC236}">
                      <a16:creationId xmlns:a16="http://schemas.microsoft.com/office/drawing/2014/main" id="{C6F1FCDE-B9CC-48FF-B58A-C91689EEA43A}"/>
                    </a:ext>
                  </a:extLst>
                </p:cNvPr>
                <p:cNvSpPr>
                  <a:spLocks/>
                </p:cNvSpPr>
                <p:nvPr/>
              </p:nvSpPr>
              <p:spPr bwMode="auto">
                <a:xfrm>
                  <a:off x="1856" y="854"/>
                  <a:ext cx="536" cy="539"/>
                </a:xfrm>
                <a:custGeom>
                  <a:avLst/>
                  <a:gdLst>
                    <a:gd name="T0" fmla="*/ 61 w 1072"/>
                    <a:gd name="T1" fmla="*/ 3 h 1079"/>
                    <a:gd name="T2" fmla="*/ 150 w 1072"/>
                    <a:gd name="T3" fmla="*/ 15 h 1079"/>
                    <a:gd name="T4" fmla="*/ 257 w 1072"/>
                    <a:gd name="T5" fmla="*/ 34 h 1079"/>
                    <a:gd name="T6" fmla="*/ 376 w 1072"/>
                    <a:gd name="T7" fmla="*/ 63 h 1079"/>
                    <a:gd name="T8" fmla="*/ 498 w 1072"/>
                    <a:gd name="T9" fmla="*/ 105 h 1079"/>
                    <a:gd name="T10" fmla="*/ 618 w 1072"/>
                    <a:gd name="T11" fmla="*/ 162 h 1079"/>
                    <a:gd name="T12" fmla="*/ 728 w 1072"/>
                    <a:gd name="T13" fmla="*/ 237 h 1079"/>
                    <a:gd name="T14" fmla="*/ 784 w 1072"/>
                    <a:gd name="T15" fmla="*/ 286 h 1079"/>
                    <a:gd name="T16" fmla="*/ 808 w 1072"/>
                    <a:gd name="T17" fmla="*/ 311 h 1079"/>
                    <a:gd name="T18" fmla="*/ 846 w 1072"/>
                    <a:gd name="T19" fmla="*/ 353 h 1079"/>
                    <a:gd name="T20" fmla="*/ 894 w 1072"/>
                    <a:gd name="T21" fmla="*/ 411 h 1079"/>
                    <a:gd name="T22" fmla="*/ 943 w 1072"/>
                    <a:gd name="T23" fmla="*/ 485 h 1079"/>
                    <a:gd name="T24" fmla="*/ 1017 w 1072"/>
                    <a:gd name="T25" fmla="*/ 627 h 1079"/>
                    <a:gd name="T26" fmla="*/ 1061 w 1072"/>
                    <a:gd name="T27" fmla="*/ 770 h 1079"/>
                    <a:gd name="T28" fmla="*/ 1072 w 1072"/>
                    <a:gd name="T29" fmla="*/ 909 h 1079"/>
                    <a:gd name="T30" fmla="*/ 1064 w 1072"/>
                    <a:gd name="T31" fmla="*/ 984 h 1079"/>
                    <a:gd name="T32" fmla="*/ 1055 w 1072"/>
                    <a:gd name="T33" fmla="*/ 995 h 1079"/>
                    <a:gd name="T34" fmla="*/ 1039 w 1072"/>
                    <a:gd name="T35" fmla="*/ 996 h 1079"/>
                    <a:gd name="T36" fmla="*/ 1024 w 1072"/>
                    <a:gd name="T37" fmla="*/ 986 h 1079"/>
                    <a:gd name="T38" fmla="*/ 935 w 1072"/>
                    <a:gd name="T39" fmla="*/ 851 h 1079"/>
                    <a:gd name="T40" fmla="*/ 826 w 1072"/>
                    <a:gd name="T41" fmla="*/ 710 h 1079"/>
                    <a:gd name="T42" fmla="*/ 699 w 1072"/>
                    <a:gd name="T43" fmla="*/ 574 h 1079"/>
                    <a:gd name="T44" fmla="*/ 556 w 1072"/>
                    <a:gd name="T45" fmla="*/ 447 h 1079"/>
                    <a:gd name="T46" fmla="*/ 570 w 1072"/>
                    <a:gd name="T47" fmla="*/ 484 h 1079"/>
                    <a:gd name="T48" fmla="*/ 730 w 1072"/>
                    <a:gd name="T49" fmla="*/ 671 h 1079"/>
                    <a:gd name="T50" fmla="*/ 859 w 1072"/>
                    <a:gd name="T51" fmla="*/ 860 h 1079"/>
                    <a:gd name="T52" fmla="*/ 956 w 1072"/>
                    <a:gd name="T53" fmla="*/ 1045 h 1079"/>
                    <a:gd name="T54" fmla="*/ 958 w 1072"/>
                    <a:gd name="T55" fmla="*/ 1058 h 1079"/>
                    <a:gd name="T56" fmla="*/ 952 w 1072"/>
                    <a:gd name="T57" fmla="*/ 1069 h 1079"/>
                    <a:gd name="T58" fmla="*/ 945 w 1072"/>
                    <a:gd name="T59" fmla="*/ 1074 h 1079"/>
                    <a:gd name="T60" fmla="*/ 891 w 1072"/>
                    <a:gd name="T61" fmla="*/ 1079 h 1079"/>
                    <a:gd name="T62" fmla="*/ 760 w 1072"/>
                    <a:gd name="T63" fmla="*/ 1058 h 1079"/>
                    <a:gd name="T64" fmla="*/ 639 w 1072"/>
                    <a:gd name="T65" fmla="*/ 1008 h 1079"/>
                    <a:gd name="T66" fmla="*/ 530 w 1072"/>
                    <a:gd name="T67" fmla="*/ 941 h 1079"/>
                    <a:gd name="T68" fmla="*/ 427 w 1072"/>
                    <a:gd name="T69" fmla="*/ 861 h 1079"/>
                    <a:gd name="T70" fmla="*/ 318 w 1072"/>
                    <a:gd name="T71" fmla="*/ 757 h 1079"/>
                    <a:gd name="T72" fmla="*/ 225 w 1072"/>
                    <a:gd name="T73" fmla="*/ 646 h 1079"/>
                    <a:gd name="T74" fmla="*/ 144 w 1072"/>
                    <a:gd name="T75" fmla="*/ 519 h 1079"/>
                    <a:gd name="T76" fmla="*/ 74 w 1072"/>
                    <a:gd name="T77" fmla="*/ 363 h 1079"/>
                    <a:gd name="T78" fmla="*/ 25 w 1072"/>
                    <a:gd name="T79" fmla="*/ 196 h 1079"/>
                    <a:gd name="T80" fmla="*/ 0 w 1072"/>
                    <a:gd name="T81" fmla="*/ 25 h 1079"/>
                    <a:gd name="T82" fmla="*/ 3 w 1072"/>
                    <a:gd name="T83" fmla="*/ 12 h 1079"/>
                    <a:gd name="T84" fmla="*/ 12 w 1072"/>
                    <a:gd name="T85" fmla="*/ 3 h 1079"/>
                    <a:gd name="T86" fmla="*/ 25 w 1072"/>
                    <a:gd name="T87"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2" h="1079">
                      <a:moveTo>
                        <a:pt x="25" y="0"/>
                      </a:moveTo>
                      <a:lnTo>
                        <a:pt x="61" y="3"/>
                      </a:lnTo>
                      <a:lnTo>
                        <a:pt x="103" y="8"/>
                      </a:lnTo>
                      <a:lnTo>
                        <a:pt x="150" y="15"/>
                      </a:lnTo>
                      <a:lnTo>
                        <a:pt x="202" y="22"/>
                      </a:lnTo>
                      <a:lnTo>
                        <a:pt x="257" y="34"/>
                      </a:lnTo>
                      <a:lnTo>
                        <a:pt x="315" y="47"/>
                      </a:lnTo>
                      <a:lnTo>
                        <a:pt x="376" y="63"/>
                      </a:lnTo>
                      <a:lnTo>
                        <a:pt x="437" y="82"/>
                      </a:lnTo>
                      <a:lnTo>
                        <a:pt x="498" y="105"/>
                      </a:lnTo>
                      <a:lnTo>
                        <a:pt x="559" y="131"/>
                      </a:lnTo>
                      <a:lnTo>
                        <a:pt x="618" y="162"/>
                      </a:lnTo>
                      <a:lnTo>
                        <a:pt x="675" y="198"/>
                      </a:lnTo>
                      <a:lnTo>
                        <a:pt x="728" y="237"/>
                      </a:lnTo>
                      <a:lnTo>
                        <a:pt x="778" y="282"/>
                      </a:lnTo>
                      <a:lnTo>
                        <a:pt x="784" y="286"/>
                      </a:lnTo>
                      <a:lnTo>
                        <a:pt x="794" y="297"/>
                      </a:lnTo>
                      <a:lnTo>
                        <a:pt x="808" y="311"/>
                      </a:lnTo>
                      <a:lnTo>
                        <a:pt x="826" y="330"/>
                      </a:lnTo>
                      <a:lnTo>
                        <a:pt x="846" y="353"/>
                      </a:lnTo>
                      <a:lnTo>
                        <a:pt x="869" y="381"/>
                      </a:lnTo>
                      <a:lnTo>
                        <a:pt x="894" y="411"/>
                      </a:lnTo>
                      <a:lnTo>
                        <a:pt x="919" y="446"/>
                      </a:lnTo>
                      <a:lnTo>
                        <a:pt x="943" y="485"/>
                      </a:lnTo>
                      <a:lnTo>
                        <a:pt x="985" y="555"/>
                      </a:lnTo>
                      <a:lnTo>
                        <a:pt x="1017" y="627"/>
                      </a:lnTo>
                      <a:lnTo>
                        <a:pt x="1043" y="699"/>
                      </a:lnTo>
                      <a:lnTo>
                        <a:pt x="1061" y="770"/>
                      </a:lnTo>
                      <a:lnTo>
                        <a:pt x="1071" y="839"/>
                      </a:lnTo>
                      <a:lnTo>
                        <a:pt x="1072" y="909"/>
                      </a:lnTo>
                      <a:lnTo>
                        <a:pt x="1067" y="979"/>
                      </a:lnTo>
                      <a:lnTo>
                        <a:pt x="1064" y="984"/>
                      </a:lnTo>
                      <a:lnTo>
                        <a:pt x="1059" y="990"/>
                      </a:lnTo>
                      <a:lnTo>
                        <a:pt x="1055" y="995"/>
                      </a:lnTo>
                      <a:lnTo>
                        <a:pt x="1048" y="996"/>
                      </a:lnTo>
                      <a:lnTo>
                        <a:pt x="1039" y="996"/>
                      </a:lnTo>
                      <a:lnTo>
                        <a:pt x="1032" y="993"/>
                      </a:lnTo>
                      <a:lnTo>
                        <a:pt x="1024" y="986"/>
                      </a:lnTo>
                      <a:lnTo>
                        <a:pt x="982" y="919"/>
                      </a:lnTo>
                      <a:lnTo>
                        <a:pt x="935" y="851"/>
                      </a:lnTo>
                      <a:lnTo>
                        <a:pt x="882" y="781"/>
                      </a:lnTo>
                      <a:lnTo>
                        <a:pt x="826" y="710"/>
                      </a:lnTo>
                      <a:lnTo>
                        <a:pt x="765" y="640"/>
                      </a:lnTo>
                      <a:lnTo>
                        <a:pt x="699" y="574"/>
                      </a:lnTo>
                      <a:lnTo>
                        <a:pt x="630" y="508"/>
                      </a:lnTo>
                      <a:lnTo>
                        <a:pt x="556" y="447"/>
                      </a:lnTo>
                      <a:lnTo>
                        <a:pt x="479" y="391"/>
                      </a:lnTo>
                      <a:lnTo>
                        <a:pt x="570" y="484"/>
                      </a:lnTo>
                      <a:lnTo>
                        <a:pt x="654" y="577"/>
                      </a:lnTo>
                      <a:lnTo>
                        <a:pt x="730" y="671"/>
                      </a:lnTo>
                      <a:lnTo>
                        <a:pt x="798" y="765"/>
                      </a:lnTo>
                      <a:lnTo>
                        <a:pt x="859" y="860"/>
                      </a:lnTo>
                      <a:lnTo>
                        <a:pt x="911" y="953"/>
                      </a:lnTo>
                      <a:lnTo>
                        <a:pt x="956" y="1045"/>
                      </a:lnTo>
                      <a:lnTo>
                        <a:pt x="958" y="1051"/>
                      </a:lnTo>
                      <a:lnTo>
                        <a:pt x="958" y="1058"/>
                      </a:lnTo>
                      <a:lnTo>
                        <a:pt x="955" y="1064"/>
                      </a:lnTo>
                      <a:lnTo>
                        <a:pt x="952" y="1069"/>
                      </a:lnTo>
                      <a:lnTo>
                        <a:pt x="949" y="1073"/>
                      </a:lnTo>
                      <a:lnTo>
                        <a:pt x="945" y="1074"/>
                      </a:lnTo>
                      <a:lnTo>
                        <a:pt x="939" y="1076"/>
                      </a:lnTo>
                      <a:lnTo>
                        <a:pt x="891" y="1079"/>
                      </a:lnTo>
                      <a:lnTo>
                        <a:pt x="826" y="1074"/>
                      </a:lnTo>
                      <a:lnTo>
                        <a:pt x="760" y="1058"/>
                      </a:lnTo>
                      <a:lnTo>
                        <a:pt x="698" y="1037"/>
                      </a:lnTo>
                      <a:lnTo>
                        <a:pt x="639" y="1008"/>
                      </a:lnTo>
                      <a:lnTo>
                        <a:pt x="582" y="976"/>
                      </a:lnTo>
                      <a:lnTo>
                        <a:pt x="530" y="941"/>
                      </a:lnTo>
                      <a:lnTo>
                        <a:pt x="483" y="908"/>
                      </a:lnTo>
                      <a:lnTo>
                        <a:pt x="427" y="861"/>
                      </a:lnTo>
                      <a:lnTo>
                        <a:pt x="370" y="810"/>
                      </a:lnTo>
                      <a:lnTo>
                        <a:pt x="318" y="757"/>
                      </a:lnTo>
                      <a:lnTo>
                        <a:pt x="269" y="701"/>
                      </a:lnTo>
                      <a:lnTo>
                        <a:pt x="225" y="646"/>
                      </a:lnTo>
                      <a:lnTo>
                        <a:pt x="186" y="591"/>
                      </a:lnTo>
                      <a:lnTo>
                        <a:pt x="144" y="519"/>
                      </a:lnTo>
                      <a:lnTo>
                        <a:pt x="106" y="443"/>
                      </a:lnTo>
                      <a:lnTo>
                        <a:pt x="74" y="363"/>
                      </a:lnTo>
                      <a:lnTo>
                        <a:pt x="47" y="281"/>
                      </a:lnTo>
                      <a:lnTo>
                        <a:pt x="25" y="196"/>
                      </a:lnTo>
                      <a:lnTo>
                        <a:pt x="10" y="111"/>
                      </a:lnTo>
                      <a:lnTo>
                        <a:pt x="0" y="25"/>
                      </a:lnTo>
                      <a:lnTo>
                        <a:pt x="2" y="18"/>
                      </a:lnTo>
                      <a:lnTo>
                        <a:pt x="3" y="12"/>
                      </a:lnTo>
                      <a:lnTo>
                        <a:pt x="7" y="8"/>
                      </a:lnTo>
                      <a:lnTo>
                        <a:pt x="12" y="3"/>
                      </a:lnTo>
                      <a:lnTo>
                        <a:pt x="18" y="2"/>
                      </a:lnTo>
                      <a:lnTo>
                        <a:pt x="2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54" name="Oval 53">
                <a:extLst>
                  <a:ext uri="{FF2B5EF4-FFF2-40B4-BE49-F238E27FC236}">
                    <a16:creationId xmlns:a16="http://schemas.microsoft.com/office/drawing/2014/main" id="{269C7C16-2887-47CD-A53B-8A240A99A9FF}"/>
                  </a:ext>
                </a:extLst>
              </p:cNvPr>
              <p:cNvSpPr>
                <a:spLocks noChangeAspect="1"/>
              </p:cNvSpPr>
              <p:nvPr/>
            </p:nvSpPr>
            <p:spPr>
              <a:xfrm>
                <a:off x="4028989" y="2820435"/>
                <a:ext cx="36576" cy="36576"/>
              </a:xfrm>
              <a:prstGeom prst="ellipse">
                <a:avLst/>
              </a:prstGeom>
              <a:solidFill>
                <a:schemeClr val="bg1"/>
              </a:solidFill>
              <a:ln w="19050" cap="flat" cmpd="sng" algn="ctr">
                <a:solidFill>
                  <a:srgbClr val="6DC24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grpSp>
          <p:nvGrpSpPr>
            <p:cNvPr id="33" name="Group 32">
              <a:extLst>
                <a:ext uri="{FF2B5EF4-FFF2-40B4-BE49-F238E27FC236}">
                  <a16:creationId xmlns:a16="http://schemas.microsoft.com/office/drawing/2014/main" id="{73BE24D3-8300-4167-8A64-4F92B4658F57}"/>
                </a:ext>
              </a:extLst>
            </p:cNvPr>
            <p:cNvGrpSpPr/>
            <p:nvPr/>
          </p:nvGrpSpPr>
          <p:grpSpPr>
            <a:xfrm>
              <a:off x="3668550" y="4294964"/>
              <a:ext cx="563845" cy="563845"/>
              <a:chOff x="1348267" y="3013354"/>
              <a:chExt cx="457200" cy="457200"/>
            </a:xfrm>
          </p:grpSpPr>
          <p:sp>
            <p:nvSpPr>
              <p:cNvPr id="48" name="Flowchart: Connector 47">
                <a:extLst>
                  <a:ext uri="{FF2B5EF4-FFF2-40B4-BE49-F238E27FC236}">
                    <a16:creationId xmlns:a16="http://schemas.microsoft.com/office/drawing/2014/main" id="{15882C61-6D2D-4CFA-B93D-517C8DEBF783}"/>
                  </a:ext>
                </a:extLst>
              </p:cNvPr>
              <p:cNvSpPr/>
              <p:nvPr/>
            </p:nvSpPr>
            <p:spPr>
              <a:xfrm>
                <a:off x="1348267" y="3013354"/>
                <a:ext cx="457200" cy="457200"/>
              </a:xfrm>
              <a:prstGeom prst="flowChartConnector">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49" name="Freeform 30">
                <a:extLst>
                  <a:ext uri="{FF2B5EF4-FFF2-40B4-BE49-F238E27FC236}">
                    <a16:creationId xmlns:a16="http://schemas.microsoft.com/office/drawing/2014/main" id="{B18DEB82-E9BE-408C-86E3-68DB5D8DB7B7}"/>
                  </a:ext>
                </a:extLst>
              </p:cNvPr>
              <p:cNvSpPr>
                <a:spLocks/>
              </p:cNvSpPr>
              <p:nvPr/>
            </p:nvSpPr>
            <p:spPr bwMode="auto">
              <a:xfrm>
                <a:off x="1546697" y="3153350"/>
                <a:ext cx="130108" cy="190860"/>
              </a:xfrm>
              <a:custGeom>
                <a:avLst/>
                <a:gdLst>
                  <a:gd name="T0" fmla="*/ 3727 w 11132"/>
                  <a:gd name="T1" fmla="*/ 5705 h 16330"/>
                  <a:gd name="T2" fmla="*/ 4613 w 11132"/>
                  <a:gd name="T3" fmla="*/ 3394 h 16330"/>
                  <a:gd name="T4" fmla="*/ 4535 w 11132"/>
                  <a:gd name="T5" fmla="*/ 3359 h 16330"/>
                  <a:gd name="T6" fmla="*/ 4459 w 11132"/>
                  <a:gd name="T7" fmla="*/ 3314 h 16330"/>
                  <a:gd name="T8" fmla="*/ 4386 w 11132"/>
                  <a:gd name="T9" fmla="*/ 3260 h 16330"/>
                  <a:gd name="T10" fmla="*/ 4245 w 11132"/>
                  <a:gd name="T11" fmla="*/ 3125 h 16330"/>
                  <a:gd name="T12" fmla="*/ 4107 w 11132"/>
                  <a:gd name="T13" fmla="*/ 2953 h 16330"/>
                  <a:gd name="T14" fmla="*/ 4000 w 11132"/>
                  <a:gd name="T15" fmla="*/ 2794 h 16330"/>
                  <a:gd name="T16" fmla="*/ 3931 w 11132"/>
                  <a:gd name="T17" fmla="*/ 2674 h 16330"/>
                  <a:gd name="T18" fmla="*/ 3872 w 11132"/>
                  <a:gd name="T19" fmla="*/ 2552 h 16330"/>
                  <a:gd name="T20" fmla="*/ 3823 w 11132"/>
                  <a:gd name="T21" fmla="*/ 2425 h 16330"/>
                  <a:gd name="T22" fmla="*/ 3786 w 11132"/>
                  <a:gd name="T23" fmla="*/ 2296 h 16330"/>
                  <a:gd name="T24" fmla="*/ 3757 w 11132"/>
                  <a:gd name="T25" fmla="*/ 2164 h 16330"/>
                  <a:gd name="T26" fmla="*/ 3738 w 11132"/>
                  <a:gd name="T27" fmla="*/ 2029 h 16330"/>
                  <a:gd name="T28" fmla="*/ 3728 w 11132"/>
                  <a:gd name="T29" fmla="*/ 1890 h 16330"/>
                  <a:gd name="T30" fmla="*/ 3729 w 11132"/>
                  <a:gd name="T31" fmla="*/ 1737 h 16330"/>
                  <a:gd name="T32" fmla="*/ 3743 w 11132"/>
                  <a:gd name="T33" fmla="*/ 1575 h 16330"/>
                  <a:gd name="T34" fmla="*/ 3771 w 11132"/>
                  <a:gd name="T35" fmla="*/ 1416 h 16330"/>
                  <a:gd name="T36" fmla="*/ 3813 w 11132"/>
                  <a:gd name="T37" fmla="*/ 1259 h 16330"/>
                  <a:gd name="T38" fmla="*/ 3870 w 11132"/>
                  <a:gd name="T39" fmla="*/ 1107 h 16330"/>
                  <a:gd name="T40" fmla="*/ 3942 w 11132"/>
                  <a:gd name="T41" fmla="*/ 958 h 16330"/>
                  <a:gd name="T42" fmla="*/ 4029 w 11132"/>
                  <a:gd name="T43" fmla="*/ 814 h 16330"/>
                  <a:gd name="T44" fmla="*/ 4130 w 11132"/>
                  <a:gd name="T45" fmla="*/ 675 h 16330"/>
                  <a:gd name="T46" fmla="*/ 4253 w 11132"/>
                  <a:gd name="T47" fmla="*/ 533 h 16330"/>
                  <a:gd name="T48" fmla="*/ 4393 w 11132"/>
                  <a:gd name="T49" fmla="*/ 398 h 16330"/>
                  <a:gd name="T50" fmla="*/ 4543 w 11132"/>
                  <a:gd name="T51" fmla="*/ 285 h 16330"/>
                  <a:gd name="T52" fmla="*/ 4704 w 11132"/>
                  <a:gd name="T53" fmla="*/ 190 h 16330"/>
                  <a:gd name="T54" fmla="*/ 4875 w 11132"/>
                  <a:gd name="T55" fmla="*/ 114 h 16330"/>
                  <a:gd name="T56" fmla="*/ 5056 w 11132"/>
                  <a:gd name="T57" fmla="*/ 58 h 16330"/>
                  <a:gd name="T58" fmla="*/ 5246 w 11132"/>
                  <a:gd name="T59" fmla="*/ 20 h 16330"/>
                  <a:gd name="T60" fmla="*/ 5446 w 11132"/>
                  <a:gd name="T61" fmla="*/ 2 h 16330"/>
                  <a:gd name="T62" fmla="*/ 5656 w 11132"/>
                  <a:gd name="T63" fmla="*/ 2 h 16330"/>
                  <a:gd name="T64" fmla="*/ 5860 w 11132"/>
                  <a:gd name="T65" fmla="*/ 20 h 16330"/>
                  <a:gd name="T66" fmla="*/ 6055 w 11132"/>
                  <a:gd name="T67" fmla="*/ 58 h 16330"/>
                  <a:gd name="T68" fmla="*/ 6237 w 11132"/>
                  <a:gd name="T69" fmla="*/ 114 h 16330"/>
                  <a:gd name="T70" fmla="*/ 6410 w 11132"/>
                  <a:gd name="T71" fmla="*/ 190 h 16330"/>
                  <a:gd name="T72" fmla="*/ 6572 w 11132"/>
                  <a:gd name="T73" fmla="*/ 285 h 16330"/>
                  <a:gd name="T74" fmla="*/ 6723 w 11132"/>
                  <a:gd name="T75" fmla="*/ 398 h 16330"/>
                  <a:gd name="T76" fmla="*/ 6863 w 11132"/>
                  <a:gd name="T77" fmla="*/ 533 h 16330"/>
                  <a:gd name="T78" fmla="*/ 6986 w 11132"/>
                  <a:gd name="T79" fmla="*/ 675 h 16330"/>
                  <a:gd name="T80" fmla="*/ 7089 w 11132"/>
                  <a:gd name="T81" fmla="*/ 814 h 16330"/>
                  <a:gd name="T82" fmla="*/ 7178 w 11132"/>
                  <a:gd name="T83" fmla="*/ 958 h 16330"/>
                  <a:gd name="T84" fmla="*/ 7252 w 11132"/>
                  <a:gd name="T85" fmla="*/ 1107 h 16330"/>
                  <a:gd name="T86" fmla="*/ 7313 w 11132"/>
                  <a:gd name="T87" fmla="*/ 1259 h 16330"/>
                  <a:gd name="T88" fmla="*/ 7358 w 11132"/>
                  <a:gd name="T89" fmla="*/ 1416 h 16330"/>
                  <a:gd name="T90" fmla="*/ 7388 w 11132"/>
                  <a:gd name="T91" fmla="*/ 1575 h 16330"/>
                  <a:gd name="T92" fmla="*/ 7403 w 11132"/>
                  <a:gd name="T93" fmla="*/ 1737 h 16330"/>
                  <a:gd name="T94" fmla="*/ 7404 w 11132"/>
                  <a:gd name="T95" fmla="*/ 1890 h 16330"/>
                  <a:gd name="T96" fmla="*/ 7394 w 11132"/>
                  <a:gd name="T97" fmla="*/ 2029 h 16330"/>
                  <a:gd name="T98" fmla="*/ 7376 w 11132"/>
                  <a:gd name="T99" fmla="*/ 2164 h 16330"/>
                  <a:gd name="T100" fmla="*/ 7347 w 11132"/>
                  <a:gd name="T101" fmla="*/ 2296 h 16330"/>
                  <a:gd name="T102" fmla="*/ 7309 w 11132"/>
                  <a:gd name="T103" fmla="*/ 2425 h 16330"/>
                  <a:gd name="T104" fmla="*/ 7261 w 11132"/>
                  <a:gd name="T105" fmla="*/ 2552 h 16330"/>
                  <a:gd name="T106" fmla="*/ 7201 w 11132"/>
                  <a:gd name="T107" fmla="*/ 2674 h 16330"/>
                  <a:gd name="T108" fmla="*/ 7132 w 11132"/>
                  <a:gd name="T109" fmla="*/ 2794 h 16330"/>
                  <a:gd name="T110" fmla="*/ 7030 w 11132"/>
                  <a:gd name="T111" fmla="*/ 2949 h 16330"/>
                  <a:gd name="T112" fmla="*/ 6895 w 11132"/>
                  <a:gd name="T113" fmla="*/ 3119 h 16330"/>
                  <a:gd name="T114" fmla="*/ 6746 w 11132"/>
                  <a:gd name="T115" fmla="*/ 3264 h 16330"/>
                  <a:gd name="T116" fmla="*/ 6587 w 11132"/>
                  <a:gd name="T117" fmla="*/ 3380 h 16330"/>
                  <a:gd name="T118" fmla="*/ 11132 w 11132"/>
                  <a:gd name="T119" fmla="*/ 4328 h 16330"/>
                  <a:gd name="T120" fmla="*/ 6995 w 11132"/>
                  <a:gd name="T121" fmla="*/ 9854 h 16330"/>
                  <a:gd name="T122" fmla="*/ 5320 w 11132"/>
                  <a:gd name="T123" fmla="*/ 9854 h 16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32" h="16330">
                    <a:moveTo>
                      <a:pt x="4204" y="16330"/>
                    </a:moveTo>
                    <a:lnTo>
                      <a:pt x="4204" y="9854"/>
                    </a:lnTo>
                    <a:lnTo>
                      <a:pt x="1822" y="9854"/>
                    </a:lnTo>
                    <a:lnTo>
                      <a:pt x="3727" y="5705"/>
                    </a:lnTo>
                    <a:lnTo>
                      <a:pt x="0" y="5705"/>
                    </a:lnTo>
                    <a:lnTo>
                      <a:pt x="0" y="4328"/>
                    </a:lnTo>
                    <a:lnTo>
                      <a:pt x="4613" y="4328"/>
                    </a:lnTo>
                    <a:lnTo>
                      <a:pt x="4613" y="3394"/>
                    </a:lnTo>
                    <a:lnTo>
                      <a:pt x="4594" y="3386"/>
                    </a:lnTo>
                    <a:lnTo>
                      <a:pt x="4575" y="3377"/>
                    </a:lnTo>
                    <a:lnTo>
                      <a:pt x="4554" y="3368"/>
                    </a:lnTo>
                    <a:lnTo>
                      <a:pt x="4535" y="3359"/>
                    </a:lnTo>
                    <a:lnTo>
                      <a:pt x="4516" y="3349"/>
                    </a:lnTo>
                    <a:lnTo>
                      <a:pt x="4497" y="3337"/>
                    </a:lnTo>
                    <a:lnTo>
                      <a:pt x="4479" y="3326"/>
                    </a:lnTo>
                    <a:lnTo>
                      <a:pt x="4459" y="3314"/>
                    </a:lnTo>
                    <a:lnTo>
                      <a:pt x="4441" y="3302"/>
                    </a:lnTo>
                    <a:lnTo>
                      <a:pt x="4422" y="3288"/>
                    </a:lnTo>
                    <a:lnTo>
                      <a:pt x="4404" y="3274"/>
                    </a:lnTo>
                    <a:lnTo>
                      <a:pt x="4386" y="3260"/>
                    </a:lnTo>
                    <a:lnTo>
                      <a:pt x="4350" y="3230"/>
                    </a:lnTo>
                    <a:lnTo>
                      <a:pt x="4314" y="3198"/>
                    </a:lnTo>
                    <a:lnTo>
                      <a:pt x="4279" y="3162"/>
                    </a:lnTo>
                    <a:lnTo>
                      <a:pt x="4245" y="3125"/>
                    </a:lnTo>
                    <a:lnTo>
                      <a:pt x="4210" y="3085"/>
                    </a:lnTo>
                    <a:lnTo>
                      <a:pt x="4175" y="3044"/>
                    </a:lnTo>
                    <a:lnTo>
                      <a:pt x="4141" y="3000"/>
                    </a:lnTo>
                    <a:lnTo>
                      <a:pt x="4107" y="2953"/>
                    </a:lnTo>
                    <a:lnTo>
                      <a:pt x="4073" y="2904"/>
                    </a:lnTo>
                    <a:lnTo>
                      <a:pt x="4039" y="2853"/>
                    </a:lnTo>
                    <a:lnTo>
                      <a:pt x="4020" y="2824"/>
                    </a:lnTo>
                    <a:lnTo>
                      <a:pt x="4000" y="2794"/>
                    </a:lnTo>
                    <a:lnTo>
                      <a:pt x="3982" y="2765"/>
                    </a:lnTo>
                    <a:lnTo>
                      <a:pt x="3964" y="2734"/>
                    </a:lnTo>
                    <a:lnTo>
                      <a:pt x="3947" y="2705"/>
                    </a:lnTo>
                    <a:lnTo>
                      <a:pt x="3931" y="2674"/>
                    </a:lnTo>
                    <a:lnTo>
                      <a:pt x="3915" y="2643"/>
                    </a:lnTo>
                    <a:lnTo>
                      <a:pt x="3900" y="2613"/>
                    </a:lnTo>
                    <a:lnTo>
                      <a:pt x="3886" y="2582"/>
                    </a:lnTo>
                    <a:lnTo>
                      <a:pt x="3872" y="2552"/>
                    </a:lnTo>
                    <a:lnTo>
                      <a:pt x="3859" y="2520"/>
                    </a:lnTo>
                    <a:lnTo>
                      <a:pt x="3847" y="2488"/>
                    </a:lnTo>
                    <a:lnTo>
                      <a:pt x="3835" y="2457"/>
                    </a:lnTo>
                    <a:lnTo>
                      <a:pt x="3823" y="2425"/>
                    </a:lnTo>
                    <a:lnTo>
                      <a:pt x="3813" y="2393"/>
                    </a:lnTo>
                    <a:lnTo>
                      <a:pt x="3803" y="2361"/>
                    </a:lnTo>
                    <a:lnTo>
                      <a:pt x="3794" y="2329"/>
                    </a:lnTo>
                    <a:lnTo>
                      <a:pt x="3786" y="2296"/>
                    </a:lnTo>
                    <a:lnTo>
                      <a:pt x="3777" y="2264"/>
                    </a:lnTo>
                    <a:lnTo>
                      <a:pt x="3769" y="2230"/>
                    </a:lnTo>
                    <a:lnTo>
                      <a:pt x="3763" y="2197"/>
                    </a:lnTo>
                    <a:lnTo>
                      <a:pt x="3757" y="2164"/>
                    </a:lnTo>
                    <a:lnTo>
                      <a:pt x="3751" y="2130"/>
                    </a:lnTo>
                    <a:lnTo>
                      <a:pt x="3746" y="2096"/>
                    </a:lnTo>
                    <a:lnTo>
                      <a:pt x="3742" y="2063"/>
                    </a:lnTo>
                    <a:lnTo>
                      <a:pt x="3738" y="2029"/>
                    </a:lnTo>
                    <a:lnTo>
                      <a:pt x="3735" y="1994"/>
                    </a:lnTo>
                    <a:lnTo>
                      <a:pt x="3731" y="1960"/>
                    </a:lnTo>
                    <a:lnTo>
                      <a:pt x="3729" y="1925"/>
                    </a:lnTo>
                    <a:lnTo>
                      <a:pt x="3728" y="1890"/>
                    </a:lnTo>
                    <a:lnTo>
                      <a:pt x="3727" y="1855"/>
                    </a:lnTo>
                    <a:lnTo>
                      <a:pt x="3727" y="1820"/>
                    </a:lnTo>
                    <a:lnTo>
                      <a:pt x="3727" y="1779"/>
                    </a:lnTo>
                    <a:lnTo>
                      <a:pt x="3729" y="1737"/>
                    </a:lnTo>
                    <a:lnTo>
                      <a:pt x="3731" y="1696"/>
                    </a:lnTo>
                    <a:lnTo>
                      <a:pt x="3735" y="1655"/>
                    </a:lnTo>
                    <a:lnTo>
                      <a:pt x="3739" y="1615"/>
                    </a:lnTo>
                    <a:lnTo>
                      <a:pt x="3743" y="1575"/>
                    </a:lnTo>
                    <a:lnTo>
                      <a:pt x="3749" y="1534"/>
                    </a:lnTo>
                    <a:lnTo>
                      <a:pt x="3755" y="1494"/>
                    </a:lnTo>
                    <a:lnTo>
                      <a:pt x="3763" y="1454"/>
                    </a:lnTo>
                    <a:lnTo>
                      <a:pt x="3771" y="1416"/>
                    </a:lnTo>
                    <a:lnTo>
                      <a:pt x="3781" y="1376"/>
                    </a:lnTo>
                    <a:lnTo>
                      <a:pt x="3791" y="1337"/>
                    </a:lnTo>
                    <a:lnTo>
                      <a:pt x="3802" y="1298"/>
                    </a:lnTo>
                    <a:lnTo>
                      <a:pt x="3813" y="1259"/>
                    </a:lnTo>
                    <a:lnTo>
                      <a:pt x="3826" y="1221"/>
                    </a:lnTo>
                    <a:lnTo>
                      <a:pt x="3840" y="1183"/>
                    </a:lnTo>
                    <a:lnTo>
                      <a:pt x="3855" y="1145"/>
                    </a:lnTo>
                    <a:lnTo>
                      <a:pt x="3870" y="1107"/>
                    </a:lnTo>
                    <a:lnTo>
                      <a:pt x="3887" y="1070"/>
                    </a:lnTo>
                    <a:lnTo>
                      <a:pt x="3904" y="1033"/>
                    </a:lnTo>
                    <a:lnTo>
                      <a:pt x="3923" y="995"/>
                    </a:lnTo>
                    <a:lnTo>
                      <a:pt x="3942" y="958"/>
                    </a:lnTo>
                    <a:lnTo>
                      <a:pt x="3962" y="923"/>
                    </a:lnTo>
                    <a:lnTo>
                      <a:pt x="3984" y="886"/>
                    </a:lnTo>
                    <a:lnTo>
                      <a:pt x="4005" y="850"/>
                    </a:lnTo>
                    <a:lnTo>
                      <a:pt x="4029" y="814"/>
                    </a:lnTo>
                    <a:lnTo>
                      <a:pt x="4052" y="780"/>
                    </a:lnTo>
                    <a:lnTo>
                      <a:pt x="4078" y="744"/>
                    </a:lnTo>
                    <a:lnTo>
                      <a:pt x="4103" y="709"/>
                    </a:lnTo>
                    <a:lnTo>
                      <a:pt x="4130" y="675"/>
                    </a:lnTo>
                    <a:lnTo>
                      <a:pt x="4158" y="641"/>
                    </a:lnTo>
                    <a:lnTo>
                      <a:pt x="4187" y="607"/>
                    </a:lnTo>
                    <a:lnTo>
                      <a:pt x="4219" y="568"/>
                    </a:lnTo>
                    <a:lnTo>
                      <a:pt x="4253" y="533"/>
                    </a:lnTo>
                    <a:lnTo>
                      <a:pt x="4286" y="497"/>
                    </a:lnTo>
                    <a:lnTo>
                      <a:pt x="4321" y="463"/>
                    </a:lnTo>
                    <a:lnTo>
                      <a:pt x="4357" y="430"/>
                    </a:lnTo>
                    <a:lnTo>
                      <a:pt x="4393" y="398"/>
                    </a:lnTo>
                    <a:lnTo>
                      <a:pt x="4429" y="368"/>
                    </a:lnTo>
                    <a:lnTo>
                      <a:pt x="4466" y="339"/>
                    </a:lnTo>
                    <a:lnTo>
                      <a:pt x="4505" y="311"/>
                    </a:lnTo>
                    <a:lnTo>
                      <a:pt x="4543" y="285"/>
                    </a:lnTo>
                    <a:lnTo>
                      <a:pt x="4583" y="259"/>
                    </a:lnTo>
                    <a:lnTo>
                      <a:pt x="4623" y="235"/>
                    </a:lnTo>
                    <a:lnTo>
                      <a:pt x="4663" y="211"/>
                    </a:lnTo>
                    <a:lnTo>
                      <a:pt x="4704" y="190"/>
                    </a:lnTo>
                    <a:lnTo>
                      <a:pt x="4745" y="169"/>
                    </a:lnTo>
                    <a:lnTo>
                      <a:pt x="4788" y="150"/>
                    </a:lnTo>
                    <a:lnTo>
                      <a:pt x="4831" y="132"/>
                    </a:lnTo>
                    <a:lnTo>
                      <a:pt x="4875" y="114"/>
                    </a:lnTo>
                    <a:lnTo>
                      <a:pt x="4919" y="99"/>
                    </a:lnTo>
                    <a:lnTo>
                      <a:pt x="4964" y="84"/>
                    </a:lnTo>
                    <a:lnTo>
                      <a:pt x="5010" y="70"/>
                    </a:lnTo>
                    <a:lnTo>
                      <a:pt x="5056" y="58"/>
                    </a:lnTo>
                    <a:lnTo>
                      <a:pt x="5102" y="47"/>
                    </a:lnTo>
                    <a:lnTo>
                      <a:pt x="5150" y="37"/>
                    </a:lnTo>
                    <a:lnTo>
                      <a:pt x="5198" y="29"/>
                    </a:lnTo>
                    <a:lnTo>
                      <a:pt x="5246" y="20"/>
                    </a:lnTo>
                    <a:lnTo>
                      <a:pt x="5295" y="14"/>
                    </a:lnTo>
                    <a:lnTo>
                      <a:pt x="5345" y="9"/>
                    </a:lnTo>
                    <a:lnTo>
                      <a:pt x="5395" y="5"/>
                    </a:lnTo>
                    <a:lnTo>
                      <a:pt x="5446" y="2"/>
                    </a:lnTo>
                    <a:lnTo>
                      <a:pt x="5498" y="1"/>
                    </a:lnTo>
                    <a:lnTo>
                      <a:pt x="5550" y="0"/>
                    </a:lnTo>
                    <a:lnTo>
                      <a:pt x="5603" y="1"/>
                    </a:lnTo>
                    <a:lnTo>
                      <a:pt x="5656" y="2"/>
                    </a:lnTo>
                    <a:lnTo>
                      <a:pt x="5708" y="5"/>
                    </a:lnTo>
                    <a:lnTo>
                      <a:pt x="5760" y="9"/>
                    </a:lnTo>
                    <a:lnTo>
                      <a:pt x="5810" y="14"/>
                    </a:lnTo>
                    <a:lnTo>
                      <a:pt x="5860" y="20"/>
                    </a:lnTo>
                    <a:lnTo>
                      <a:pt x="5910" y="29"/>
                    </a:lnTo>
                    <a:lnTo>
                      <a:pt x="5959" y="37"/>
                    </a:lnTo>
                    <a:lnTo>
                      <a:pt x="6008" y="47"/>
                    </a:lnTo>
                    <a:lnTo>
                      <a:pt x="6055" y="58"/>
                    </a:lnTo>
                    <a:lnTo>
                      <a:pt x="6102" y="70"/>
                    </a:lnTo>
                    <a:lnTo>
                      <a:pt x="6148" y="84"/>
                    </a:lnTo>
                    <a:lnTo>
                      <a:pt x="6194" y="99"/>
                    </a:lnTo>
                    <a:lnTo>
                      <a:pt x="6237" y="114"/>
                    </a:lnTo>
                    <a:lnTo>
                      <a:pt x="6282" y="132"/>
                    </a:lnTo>
                    <a:lnTo>
                      <a:pt x="6325" y="150"/>
                    </a:lnTo>
                    <a:lnTo>
                      <a:pt x="6368" y="169"/>
                    </a:lnTo>
                    <a:lnTo>
                      <a:pt x="6410" y="190"/>
                    </a:lnTo>
                    <a:lnTo>
                      <a:pt x="6452" y="211"/>
                    </a:lnTo>
                    <a:lnTo>
                      <a:pt x="6492" y="235"/>
                    </a:lnTo>
                    <a:lnTo>
                      <a:pt x="6533" y="259"/>
                    </a:lnTo>
                    <a:lnTo>
                      <a:pt x="6572" y="285"/>
                    </a:lnTo>
                    <a:lnTo>
                      <a:pt x="6611" y="311"/>
                    </a:lnTo>
                    <a:lnTo>
                      <a:pt x="6648" y="339"/>
                    </a:lnTo>
                    <a:lnTo>
                      <a:pt x="6686" y="368"/>
                    </a:lnTo>
                    <a:lnTo>
                      <a:pt x="6723" y="398"/>
                    </a:lnTo>
                    <a:lnTo>
                      <a:pt x="6759" y="430"/>
                    </a:lnTo>
                    <a:lnTo>
                      <a:pt x="6794" y="463"/>
                    </a:lnTo>
                    <a:lnTo>
                      <a:pt x="6829" y="497"/>
                    </a:lnTo>
                    <a:lnTo>
                      <a:pt x="6863" y="533"/>
                    </a:lnTo>
                    <a:lnTo>
                      <a:pt x="6896" y="568"/>
                    </a:lnTo>
                    <a:lnTo>
                      <a:pt x="6928" y="607"/>
                    </a:lnTo>
                    <a:lnTo>
                      <a:pt x="6958" y="641"/>
                    </a:lnTo>
                    <a:lnTo>
                      <a:pt x="6986" y="675"/>
                    </a:lnTo>
                    <a:lnTo>
                      <a:pt x="7012" y="709"/>
                    </a:lnTo>
                    <a:lnTo>
                      <a:pt x="7039" y="744"/>
                    </a:lnTo>
                    <a:lnTo>
                      <a:pt x="7064" y="780"/>
                    </a:lnTo>
                    <a:lnTo>
                      <a:pt x="7089" y="814"/>
                    </a:lnTo>
                    <a:lnTo>
                      <a:pt x="7112" y="850"/>
                    </a:lnTo>
                    <a:lnTo>
                      <a:pt x="7135" y="886"/>
                    </a:lnTo>
                    <a:lnTo>
                      <a:pt x="7156" y="923"/>
                    </a:lnTo>
                    <a:lnTo>
                      <a:pt x="7178" y="958"/>
                    </a:lnTo>
                    <a:lnTo>
                      <a:pt x="7197" y="995"/>
                    </a:lnTo>
                    <a:lnTo>
                      <a:pt x="7217" y="1033"/>
                    </a:lnTo>
                    <a:lnTo>
                      <a:pt x="7235" y="1070"/>
                    </a:lnTo>
                    <a:lnTo>
                      <a:pt x="7252" y="1107"/>
                    </a:lnTo>
                    <a:lnTo>
                      <a:pt x="7269" y="1145"/>
                    </a:lnTo>
                    <a:lnTo>
                      <a:pt x="7284" y="1183"/>
                    </a:lnTo>
                    <a:lnTo>
                      <a:pt x="7298" y="1221"/>
                    </a:lnTo>
                    <a:lnTo>
                      <a:pt x="7313" y="1259"/>
                    </a:lnTo>
                    <a:lnTo>
                      <a:pt x="7325" y="1298"/>
                    </a:lnTo>
                    <a:lnTo>
                      <a:pt x="7336" y="1337"/>
                    </a:lnTo>
                    <a:lnTo>
                      <a:pt x="7347" y="1376"/>
                    </a:lnTo>
                    <a:lnTo>
                      <a:pt x="7358" y="1416"/>
                    </a:lnTo>
                    <a:lnTo>
                      <a:pt x="7367" y="1454"/>
                    </a:lnTo>
                    <a:lnTo>
                      <a:pt x="7375" y="1494"/>
                    </a:lnTo>
                    <a:lnTo>
                      <a:pt x="7382" y="1534"/>
                    </a:lnTo>
                    <a:lnTo>
                      <a:pt x="7388" y="1575"/>
                    </a:lnTo>
                    <a:lnTo>
                      <a:pt x="7393" y="1615"/>
                    </a:lnTo>
                    <a:lnTo>
                      <a:pt x="7397" y="1655"/>
                    </a:lnTo>
                    <a:lnTo>
                      <a:pt x="7401" y="1696"/>
                    </a:lnTo>
                    <a:lnTo>
                      <a:pt x="7403" y="1737"/>
                    </a:lnTo>
                    <a:lnTo>
                      <a:pt x="7405" y="1779"/>
                    </a:lnTo>
                    <a:lnTo>
                      <a:pt x="7405" y="1820"/>
                    </a:lnTo>
                    <a:lnTo>
                      <a:pt x="7405" y="1855"/>
                    </a:lnTo>
                    <a:lnTo>
                      <a:pt x="7404" y="1890"/>
                    </a:lnTo>
                    <a:lnTo>
                      <a:pt x="7403" y="1925"/>
                    </a:lnTo>
                    <a:lnTo>
                      <a:pt x="7401" y="1960"/>
                    </a:lnTo>
                    <a:lnTo>
                      <a:pt x="7397" y="1994"/>
                    </a:lnTo>
                    <a:lnTo>
                      <a:pt x="7394" y="2029"/>
                    </a:lnTo>
                    <a:lnTo>
                      <a:pt x="7390" y="2063"/>
                    </a:lnTo>
                    <a:lnTo>
                      <a:pt x="7386" y="2096"/>
                    </a:lnTo>
                    <a:lnTo>
                      <a:pt x="7381" y="2130"/>
                    </a:lnTo>
                    <a:lnTo>
                      <a:pt x="7376" y="2164"/>
                    </a:lnTo>
                    <a:lnTo>
                      <a:pt x="7370" y="2197"/>
                    </a:lnTo>
                    <a:lnTo>
                      <a:pt x="7363" y="2230"/>
                    </a:lnTo>
                    <a:lnTo>
                      <a:pt x="7356" y="2264"/>
                    </a:lnTo>
                    <a:lnTo>
                      <a:pt x="7347" y="2296"/>
                    </a:lnTo>
                    <a:lnTo>
                      <a:pt x="7338" y="2329"/>
                    </a:lnTo>
                    <a:lnTo>
                      <a:pt x="7329" y="2361"/>
                    </a:lnTo>
                    <a:lnTo>
                      <a:pt x="7319" y="2393"/>
                    </a:lnTo>
                    <a:lnTo>
                      <a:pt x="7309" y="2425"/>
                    </a:lnTo>
                    <a:lnTo>
                      <a:pt x="7297" y="2457"/>
                    </a:lnTo>
                    <a:lnTo>
                      <a:pt x="7286" y="2488"/>
                    </a:lnTo>
                    <a:lnTo>
                      <a:pt x="7273" y="2520"/>
                    </a:lnTo>
                    <a:lnTo>
                      <a:pt x="7261" y="2552"/>
                    </a:lnTo>
                    <a:lnTo>
                      <a:pt x="7246" y="2582"/>
                    </a:lnTo>
                    <a:lnTo>
                      <a:pt x="7232" y="2613"/>
                    </a:lnTo>
                    <a:lnTo>
                      <a:pt x="7217" y="2643"/>
                    </a:lnTo>
                    <a:lnTo>
                      <a:pt x="7201" y="2674"/>
                    </a:lnTo>
                    <a:lnTo>
                      <a:pt x="7185" y="2705"/>
                    </a:lnTo>
                    <a:lnTo>
                      <a:pt x="7168" y="2734"/>
                    </a:lnTo>
                    <a:lnTo>
                      <a:pt x="7150" y="2765"/>
                    </a:lnTo>
                    <a:lnTo>
                      <a:pt x="7132" y="2794"/>
                    </a:lnTo>
                    <a:lnTo>
                      <a:pt x="7112" y="2824"/>
                    </a:lnTo>
                    <a:lnTo>
                      <a:pt x="7093" y="2853"/>
                    </a:lnTo>
                    <a:lnTo>
                      <a:pt x="7062" y="2902"/>
                    </a:lnTo>
                    <a:lnTo>
                      <a:pt x="7030" y="2949"/>
                    </a:lnTo>
                    <a:lnTo>
                      <a:pt x="6997" y="2993"/>
                    </a:lnTo>
                    <a:lnTo>
                      <a:pt x="6964" y="3037"/>
                    </a:lnTo>
                    <a:lnTo>
                      <a:pt x="6929" y="3079"/>
                    </a:lnTo>
                    <a:lnTo>
                      <a:pt x="6895" y="3119"/>
                    </a:lnTo>
                    <a:lnTo>
                      <a:pt x="6859" y="3158"/>
                    </a:lnTo>
                    <a:lnTo>
                      <a:pt x="6822" y="3196"/>
                    </a:lnTo>
                    <a:lnTo>
                      <a:pt x="6785" y="3230"/>
                    </a:lnTo>
                    <a:lnTo>
                      <a:pt x="6746" y="3264"/>
                    </a:lnTo>
                    <a:lnTo>
                      <a:pt x="6708" y="3296"/>
                    </a:lnTo>
                    <a:lnTo>
                      <a:pt x="6669" y="3325"/>
                    </a:lnTo>
                    <a:lnTo>
                      <a:pt x="6628" y="3354"/>
                    </a:lnTo>
                    <a:lnTo>
                      <a:pt x="6587" y="3380"/>
                    </a:lnTo>
                    <a:lnTo>
                      <a:pt x="6545" y="3404"/>
                    </a:lnTo>
                    <a:lnTo>
                      <a:pt x="6502" y="3426"/>
                    </a:lnTo>
                    <a:lnTo>
                      <a:pt x="6502" y="4328"/>
                    </a:lnTo>
                    <a:lnTo>
                      <a:pt x="11132" y="4328"/>
                    </a:lnTo>
                    <a:lnTo>
                      <a:pt x="11132" y="5705"/>
                    </a:lnTo>
                    <a:lnTo>
                      <a:pt x="7405" y="5705"/>
                    </a:lnTo>
                    <a:lnTo>
                      <a:pt x="9293" y="9854"/>
                    </a:lnTo>
                    <a:lnTo>
                      <a:pt x="6995" y="9854"/>
                    </a:lnTo>
                    <a:lnTo>
                      <a:pt x="6995" y="16330"/>
                    </a:lnTo>
                    <a:lnTo>
                      <a:pt x="5812" y="16330"/>
                    </a:lnTo>
                    <a:lnTo>
                      <a:pt x="5812" y="9854"/>
                    </a:lnTo>
                    <a:lnTo>
                      <a:pt x="5320" y="9854"/>
                    </a:lnTo>
                    <a:lnTo>
                      <a:pt x="5320" y="16330"/>
                    </a:lnTo>
                    <a:lnTo>
                      <a:pt x="4204" y="16330"/>
                    </a:lnTo>
                    <a:close/>
                  </a:path>
                </a:pathLst>
              </a:custGeom>
              <a:no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50" name="Freeform 5">
                <a:extLst>
                  <a:ext uri="{FF2B5EF4-FFF2-40B4-BE49-F238E27FC236}">
                    <a16:creationId xmlns:a16="http://schemas.microsoft.com/office/drawing/2014/main" id="{768BEB3A-8357-43B8-92F3-1ABB1EAC0F70}"/>
                  </a:ext>
                </a:extLst>
              </p:cNvPr>
              <p:cNvSpPr>
                <a:spLocks noChangeAspect="1" noEditPoints="1"/>
              </p:cNvSpPr>
              <p:nvPr/>
            </p:nvSpPr>
            <p:spPr bwMode="auto">
              <a:xfrm>
                <a:off x="1449900" y="3104794"/>
                <a:ext cx="253935" cy="274320"/>
              </a:xfrm>
              <a:custGeom>
                <a:avLst/>
                <a:gdLst>
                  <a:gd name="T0" fmla="*/ 14510 w 14824"/>
                  <a:gd name="T1" fmla="*/ 161 h 16014"/>
                  <a:gd name="T2" fmla="*/ 14808 w 14824"/>
                  <a:gd name="T3" fmla="*/ 646 h 16014"/>
                  <a:gd name="T4" fmla="*/ 14730 w 14824"/>
                  <a:gd name="T5" fmla="*/ 15591 h 16014"/>
                  <a:gd name="T6" fmla="*/ 14312 w 14824"/>
                  <a:gd name="T7" fmla="*/ 15965 h 16014"/>
                  <a:gd name="T8" fmla="*/ 2555 w 14824"/>
                  <a:gd name="T9" fmla="*/ 15965 h 16014"/>
                  <a:gd name="T10" fmla="*/ 2137 w 14824"/>
                  <a:gd name="T11" fmla="*/ 15591 h 16014"/>
                  <a:gd name="T12" fmla="*/ 228 w 14824"/>
                  <a:gd name="T13" fmla="*/ 14261 h 16014"/>
                  <a:gd name="T14" fmla="*/ 62 w 14824"/>
                  <a:gd name="T15" fmla="*/ 14166 h 16014"/>
                  <a:gd name="T16" fmla="*/ 0 w 14824"/>
                  <a:gd name="T17" fmla="*/ 13188 h 16014"/>
                  <a:gd name="T18" fmla="*/ 70 w 14824"/>
                  <a:gd name="T19" fmla="*/ 13007 h 16014"/>
                  <a:gd name="T20" fmla="*/ 241 w 14824"/>
                  <a:gd name="T21" fmla="*/ 12920 h 16014"/>
                  <a:gd name="T22" fmla="*/ 141 w 14824"/>
                  <a:gd name="T23" fmla="*/ 10598 h 16014"/>
                  <a:gd name="T24" fmla="*/ 16 w 14824"/>
                  <a:gd name="T25" fmla="*/ 10454 h 16014"/>
                  <a:gd name="T26" fmla="*/ 16 w 14824"/>
                  <a:gd name="T27" fmla="*/ 9462 h 16014"/>
                  <a:gd name="T28" fmla="*/ 141 w 14824"/>
                  <a:gd name="T29" fmla="*/ 9318 h 16014"/>
                  <a:gd name="T30" fmla="*/ 241 w 14824"/>
                  <a:gd name="T31" fmla="*/ 6996 h 16014"/>
                  <a:gd name="T32" fmla="*/ 70 w 14824"/>
                  <a:gd name="T33" fmla="*/ 6909 h 16014"/>
                  <a:gd name="T34" fmla="*/ 0 w 14824"/>
                  <a:gd name="T35" fmla="*/ 6729 h 16014"/>
                  <a:gd name="T36" fmla="*/ 62 w 14824"/>
                  <a:gd name="T37" fmla="*/ 5750 h 16014"/>
                  <a:gd name="T38" fmla="*/ 228 w 14824"/>
                  <a:gd name="T39" fmla="*/ 5655 h 16014"/>
                  <a:gd name="T40" fmla="*/ 153 w 14824"/>
                  <a:gd name="T41" fmla="*/ 3338 h 16014"/>
                  <a:gd name="T42" fmla="*/ 21 w 14824"/>
                  <a:gd name="T43" fmla="*/ 3200 h 16014"/>
                  <a:gd name="T44" fmla="*/ 12 w 14824"/>
                  <a:gd name="T45" fmla="*/ 2208 h 16014"/>
                  <a:gd name="T46" fmla="*/ 130 w 14824"/>
                  <a:gd name="T47" fmla="*/ 2058 h 16014"/>
                  <a:gd name="T48" fmla="*/ 2046 w 14824"/>
                  <a:gd name="T49" fmla="*/ 726 h 16014"/>
                  <a:gd name="T50" fmla="*/ 2299 w 14824"/>
                  <a:gd name="T51" fmla="*/ 210 h 16014"/>
                  <a:gd name="T52" fmla="*/ 2823 w 14824"/>
                  <a:gd name="T53" fmla="*/ 0 h 16014"/>
                  <a:gd name="T54" fmla="*/ 3907 w 14824"/>
                  <a:gd name="T55" fmla="*/ 12805 h 16014"/>
                  <a:gd name="T56" fmla="*/ 4126 w 14824"/>
                  <a:gd name="T57" fmla="*/ 13191 h 16014"/>
                  <a:gd name="T58" fmla="*/ 4027 w 14824"/>
                  <a:gd name="T59" fmla="*/ 13634 h 16014"/>
                  <a:gd name="T60" fmla="*/ 3666 w 14824"/>
                  <a:gd name="T61" fmla="*/ 13889 h 16014"/>
                  <a:gd name="T62" fmla="*/ 3214 w 14824"/>
                  <a:gd name="T63" fmla="*/ 13833 h 16014"/>
                  <a:gd name="T64" fmla="*/ 2926 w 14824"/>
                  <a:gd name="T65" fmla="*/ 13500 h 16014"/>
                  <a:gd name="T66" fmla="*/ 2937 w 14824"/>
                  <a:gd name="T67" fmla="*/ 13043 h 16014"/>
                  <a:gd name="T68" fmla="*/ 3240 w 14824"/>
                  <a:gd name="T69" fmla="*/ 12724 h 16014"/>
                  <a:gd name="T70" fmla="*/ 3666 w 14824"/>
                  <a:gd name="T71" fmla="*/ 9152 h 16014"/>
                  <a:gd name="T72" fmla="*/ 4027 w 14824"/>
                  <a:gd name="T73" fmla="*/ 9407 h 16014"/>
                  <a:gd name="T74" fmla="*/ 4126 w 14824"/>
                  <a:gd name="T75" fmla="*/ 9851 h 16014"/>
                  <a:gd name="T76" fmla="*/ 3907 w 14824"/>
                  <a:gd name="T77" fmla="*/ 10236 h 16014"/>
                  <a:gd name="T78" fmla="*/ 3478 w 14824"/>
                  <a:gd name="T79" fmla="*/ 10378 h 16014"/>
                  <a:gd name="T80" fmla="*/ 3070 w 14824"/>
                  <a:gd name="T81" fmla="*/ 10196 h 16014"/>
                  <a:gd name="T82" fmla="*/ 2889 w 14824"/>
                  <a:gd name="T83" fmla="*/ 9788 h 16014"/>
                  <a:gd name="T84" fmla="*/ 3030 w 14824"/>
                  <a:gd name="T85" fmla="*/ 9359 h 16014"/>
                  <a:gd name="T86" fmla="*/ 3416 w 14824"/>
                  <a:gd name="T87" fmla="*/ 9140 h 16014"/>
                  <a:gd name="T88" fmla="*/ 3834 w 14824"/>
                  <a:gd name="T89" fmla="*/ 5624 h 16014"/>
                  <a:gd name="T90" fmla="*/ 4106 w 14824"/>
                  <a:gd name="T91" fmla="*/ 5971 h 16014"/>
                  <a:gd name="T92" fmla="*/ 4072 w 14824"/>
                  <a:gd name="T93" fmla="*/ 6427 h 16014"/>
                  <a:gd name="T94" fmla="*/ 3753 w 14824"/>
                  <a:gd name="T95" fmla="*/ 6731 h 16014"/>
                  <a:gd name="T96" fmla="*/ 3296 w 14824"/>
                  <a:gd name="T97" fmla="*/ 6742 h 16014"/>
                  <a:gd name="T98" fmla="*/ 2963 w 14824"/>
                  <a:gd name="T99" fmla="*/ 6454 h 16014"/>
                  <a:gd name="T100" fmla="*/ 2908 w 14824"/>
                  <a:gd name="T101" fmla="*/ 6001 h 16014"/>
                  <a:gd name="T102" fmla="*/ 3162 w 14824"/>
                  <a:gd name="T103" fmla="*/ 5640 h 16014"/>
                  <a:gd name="T104" fmla="*/ 3574 w 14824"/>
                  <a:gd name="T105" fmla="*/ 2111 h 16014"/>
                  <a:gd name="T106" fmla="*/ 3972 w 14824"/>
                  <a:gd name="T107" fmla="*/ 2312 h 16014"/>
                  <a:gd name="T108" fmla="*/ 4134 w 14824"/>
                  <a:gd name="T109" fmla="*/ 2730 h 16014"/>
                  <a:gd name="T110" fmla="*/ 3972 w 14824"/>
                  <a:gd name="T111" fmla="*/ 3150 h 16014"/>
                  <a:gd name="T112" fmla="*/ 3574 w 14824"/>
                  <a:gd name="T113" fmla="*/ 3351 h 16014"/>
                  <a:gd name="T114" fmla="*/ 3138 w 14824"/>
                  <a:gd name="T115" fmla="*/ 3230 h 16014"/>
                  <a:gd name="T116" fmla="*/ 2901 w 14824"/>
                  <a:gd name="T117" fmla="*/ 2856 h 16014"/>
                  <a:gd name="T118" fmla="*/ 2978 w 14824"/>
                  <a:gd name="T119" fmla="*/ 2408 h 16014"/>
                  <a:gd name="T120" fmla="*/ 3325 w 14824"/>
                  <a:gd name="T121" fmla="*/ 2136 h 16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24" h="16014">
                    <a:moveTo>
                      <a:pt x="2823" y="0"/>
                    </a:moveTo>
                    <a:lnTo>
                      <a:pt x="14043" y="0"/>
                    </a:lnTo>
                    <a:lnTo>
                      <a:pt x="14084" y="1"/>
                    </a:lnTo>
                    <a:lnTo>
                      <a:pt x="14124" y="4"/>
                    </a:lnTo>
                    <a:lnTo>
                      <a:pt x="14163" y="9"/>
                    </a:lnTo>
                    <a:lnTo>
                      <a:pt x="14201" y="16"/>
                    </a:lnTo>
                    <a:lnTo>
                      <a:pt x="14239" y="26"/>
                    </a:lnTo>
                    <a:lnTo>
                      <a:pt x="14276" y="36"/>
                    </a:lnTo>
                    <a:lnTo>
                      <a:pt x="14312" y="49"/>
                    </a:lnTo>
                    <a:lnTo>
                      <a:pt x="14347" y="64"/>
                    </a:lnTo>
                    <a:lnTo>
                      <a:pt x="14382" y="80"/>
                    </a:lnTo>
                    <a:lnTo>
                      <a:pt x="14415" y="98"/>
                    </a:lnTo>
                    <a:lnTo>
                      <a:pt x="14448" y="117"/>
                    </a:lnTo>
                    <a:lnTo>
                      <a:pt x="14480" y="138"/>
                    </a:lnTo>
                    <a:lnTo>
                      <a:pt x="14510" y="161"/>
                    </a:lnTo>
                    <a:lnTo>
                      <a:pt x="14540" y="185"/>
                    </a:lnTo>
                    <a:lnTo>
                      <a:pt x="14568" y="210"/>
                    </a:lnTo>
                    <a:lnTo>
                      <a:pt x="14595" y="237"/>
                    </a:lnTo>
                    <a:lnTo>
                      <a:pt x="14621" y="265"/>
                    </a:lnTo>
                    <a:lnTo>
                      <a:pt x="14645" y="294"/>
                    </a:lnTo>
                    <a:lnTo>
                      <a:pt x="14669" y="325"/>
                    </a:lnTo>
                    <a:lnTo>
                      <a:pt x="14690" y="356"/>
                    </a:lnTo>
                    <a:lnTo>
                      <a:pt x="14711" y="389"/>
                    </a:lnTo>
                    <a:lnTo>
                      <a:pt x="14730" y="423"/>
                    </a:lnTo>
                    <a:lnTo>
                      <a:pt x="14747" y="458"/>
                    </a:lnTo>
                    <a:lnTo>
                      <a:pt x="14762" y="493"/>
                    </a:lnTo>
                    <a:lnTo>
                      <a:pt x="14776" y="530"/>
                    </a:lnTo>
                    <a:lnTo>
                      <a:pt x="14789" y="568"/>
                    </a:lnTo>
                    <a:lnTo>
                      <a:pt x="14799" y="607"/>
                    </a:lnTo>
                    <a:lnTo>
                      <a:pt x="14808" y="646"/>
                    </a:lnTo>
                    <a:lnTo>
                      <a:pt x="14815" y="685"/>
                    </a:lnTo>
                    <a:lnTo>
                      <a:pt x="14820" y="726"/>
                    </a:lnTo>
                    <a:lnTo>
                      <a:pt x="14823" y="766"/>
                    </a:lnTo>
                    <a:lnTo>
                      <a:pt x="14824" y="808"/>
                    </a:lnTo>
                    <a:lnTo>
                      <a:pt x="14824" y="15206"/>
                    </a:lnTo>
                    <a:lnTo>
                      <a:pt x="14823" y="15248"/>
                    </a:lnTo>
                    <a:lnTo>
                      <a:pt x="14820" y="15288"/>
                    </a:lnTo>
                    <a:lnTo>
                      <a:pt x="14815" y="15329"/>
                    </a:lnTo>
                    <a:lnTo>
                      <a:pt x="14808" y="15368"/>
                    </a:lnTo>
                    <a:lnTo>
                      <a:pt x="14799" y="15407"/>
                    </a:lnTo>
                    <a:lnTo>
                      <a:pt x="14789" y="15446"/>
                    </a:lnTo>
                    <a:lnTo>
                      <a:pt x="14776" y="15484"/>
                    </a:lnTo>
                    <a:lnTo>
                      <a:pt x="14762" y="15521"/>
                    </a:lnTo>
                    <a:lnTo>
                      <a:pt x="14747" y="15556"/>
                    </a:lnTo>
                    <a:lnTo>
                      <a:pt x="14730" y="15591"/>
                    </a:lnTo>
                    <a:lnTo>
                      <a:pt x="14711" y="15625"/>
                    </a:lnTo>
                    <a:lnTo>
                      <a:pt x="14690" y="15658"/>
                    </a:lnTo>
                    <a:lnTo>
                      <a:pt x="14669" y="15689"/>
                    </a:lnTo>
                    <a:lnTo>
                      <a:pt x="14645" y="15720"/>
                    </a:lnTo>
                    <a:lnTo>
                      <a:pt x="14621" y="15749"/>
                    </a:lnTo>
                    <a:lnTo>
                      <a:pt x="14595" y="15777"/>
                    </a:lnTo>
                    <a:lnTo>
                      <a:pt x="14568" y="15804"/>
                    </a:lnTo>
                    <a:lnTo>
                      <a:pt x="14540" y="15829"/>
                    </a:lnTo>
                    <a:lnTo>
                      <a:pt x="14510" y="15853"/>
                    </a:lnTo>
                    <a:lnTo>
                      <a:pt x="14480" y="15876"/>
                    </a:lnTo>
                    <a:lnTo>
                      <a:pt x="14448" y="15897"/>
                    </a:lnTo>
                    <a:lnTo>
                      <a:pt x="14415" y="15916"/>
                    </a:lnTo>
                    <a:lnTo>
                      <a:pt x="14382" y="15934"/>
                    </a:lnTo>
                    <a:lnTo>
                      <a:pt x="14347" y="15950"/>
                    </a:lnTo>
                    <a:lnTo>
                      <a:pt x="14312" y="15965"/>
                    </a:lnTo>
                    <a:lnTo>
                      <a:pt x="14276" y="15978"/>
                    </a:lnTo>
                    <a:lnTo>
                      <a:pt x="14239" y="15988"/>
                    </a:lnTo>
                    <a:lnTo>
                      <a:pt x="14201" y="15998"/>
                    </a:lnTo>
                    <a:lnTo>
                      <a:pt x="14163" y="16005"/>
                    </a:lnTo>
                    <a:lnTo>
                      <a:pt x="14124" y="16010"/>
                    </a:lnTo>
                    <a:lnTo>
                      <a:pt x="14084" y="16013"/>
                    </a:lnTo>
                    <a:lnTo>
                      <a:pt x="14043" y="16014"/>
                    </a:lnTo>
                    <a:lnTo>
                      <a:pt x="2823" y="16014"/>
                    </a:lnTo>
                    <a:lnTo>
                      <a:pt x="2783" y="16013"/>
                    </a:lnTo>
                    <a:lnTo>
                      <a:pt x="2743" y="16010"/>
                    </a:lnTo>
                    <a:lnTo>
                      <a:pt x="2705" y="16005"/>
                    </a:lnTo>
                    <a:lnTo>
                      <a:pt x="2666" y="15998"/>
                    </a:lnTo>
                    <a:lnTo>
                      <a:pt x="2629" y="15988"/>
                    </a:lnTo>
                    <a:lnTo>
                      <a:pt x="2592" y="15978"/>
                    </a:lnTo>
                    <a:lnTo>
                      <a:pt x="2555" y="15965"/>
                    </a:lnTo>
                    <a:lnTo>
                      <a:pt x="2520" y="15950"/>
                    </a:lnTo>
                    <a:lnTo>
                      <a:pt x="2486" y="15934"/>
                    </a:lnTo>
                    <a:lnTo>
                      <a:pt x="2452" y="15916"/>
                    </a:lnTo>
                    <a:lnTo>
                      <a:pt x="2419" y="15897"/>
                    </a:lnTo>
                    <a:lnTo>
                      <a:pt x="2388" y="15876"/>
                    </a:lnTo>
                    <a:lnTo>
                      <a:pt x="2357" y="15853"/>
                    </a:lnTo>
                    <a:lnTo>
                      <a:pt x="2328" y="15829"/>
                    </a:lnTo>
                    <a:lnTo>
                      <a:pt x="2299" y="15804"/>
                    </a:lnTo>
                    <a:lnTo>
                      <a:pt x="2272" y="15777"/>
                    </a:lnTo>
                    <a:lnTo>
                      <a:pt x="2246" y="15749"/>
                    </a:lnTo>
                    <a:lnTo>
                      <a:pt x="2221" y="15720"/>
                    </a:lnTo>
                    <a:lnTo>
                      <a:pt x="2198" y="15689"/>
                    </a:lnTo>
                    <a:lnTo>
                      <a:pt x="2176" y="15658"/>
                    </a:lnTo>
                    <a:lnTo>
                      <a:pt x="2156" y="15625"/>
                    </a:lnTo>
                    <a:lnTo>
                      <a:pt x="2137" y="15591"/>
                    </a:lnTo>
                    <a:lnTo>
                      <a:pt x="2119" y="15556"/>
                    </a:lnTo>
                    <a:lnTo>
                      <a:pt x="2104" y="15521"/>
                    </a:lnTo>
                    <a:lnTo>
                      <a:pt x="2090" y="15484"/>
                    </a:lnTo>
                    <a:lnTo>
                      <a:pt x="2077" y="15446"/>
                    </a:lnTo>
                    <a:lnTo>
                      <a:pt x="2067" y="15407"/>
                    </a:lnTo>
                    <a:lnTo>
                      <a:pt x="2058" y="15368"/>
                    </a:lnTo>
                    <a:lnTo>
                      <a:pt x="2051" y="15329"/>
                    </a:lnTo>
                    <a:lnTo>
                      <a:pt x="2046" y="15288"/>
                    </a:lnTo>
                    <a:lnTo>
                      <a:pt x="2043" y="15248"/>
                    </a:lnTo>
                    <a:lnTo>
                      <a:pt x="2042" y="15206"/>
                    </a:lnTo>
                    <a:lnTo>
                      <a:pt x="2042" y="14264"/>
                    </a:lnTo>
                    <a:lnTo>
                      <a:pt x="269" y="14264"/>
                    </a:lnTo>
                    <a:lnTo>
                      <a:pt x="255" y="14264"/>
                    </a:lnTo>
                    <a:lnTo>
                      <a:pt x="241" y="14263"/>
                    </a:lnTo>
                    <a:lnTo>
                      <a:pt x="228" y="14261"/>
                    </a:lnTo>
                    <a:lnTo>
                      <a:pt x="215" y="14259"/>
                    </a:lnTo>
                    <a:lnTo>
                      <a:pt x="202" y="14256"/>
                    </a:lnTo>
                    <a:lnTo>
                      <a:pt x="189" y="14252"/>
                    </a:lnTo>
                    <a:lnTo>
                      <a:pt x="177" y="14248"/>
                    </a:lnTo>
                    <a:lnTo>
                      <a:pt x="164" y="14243"/>
                    </a:lnTo>
                    <a:lnTo>
                      <a:pt x="153" y="14237"/>
                    </a:lnTo>
                    <a:lnTo>
                      <a:pt x="141" y="14232"/>
                    </a:lnTo>
                    <a:lnTo>
                      <a:pt x="130" y="14225"/>
                    </a:lnTo>
                    <a:lnTo>
                      <a:pt x="119" y="14218"/>
                    </a:lnTo>
                    <a:lnTo>
                      <a:pt x="108" y="14211"/>
                    </a:lnTo>
                    <a:lnTo>
                      <a:pt x="98" y="14202"/>
                    </a:lnTo>
                    <a:lnTo>
                      <a:pt x="88" y="14194"/>
                    </a:lnTo>
                    <a:lnTo>
                      <a:pt x="79" y="14185"/>
                    </a:lnTo>
                    <a:lnTo>
                      <a:pt x="70" y="14176"/>
                    </a:lnTo>
                    <a:lnTo>
                      <a:pt x="62" y="14166"/>
                    </a:lnTo>
                    <a:lnTo>
                      <a:pt x="54" y="14156"/>
                    </a:lnTo>
                    <a:lnTo>
                      <a:pt x="46" y="14145"/>
                    </a:lnTo>
                    <a:lnTo>
                      <a:pt x="39" y="14134"/>
                    </a:lnTo>
                    <a:lnTo>
                      <a:pt x="33" y="14123"/>
                    </a:lnTo>
                    <a:lnTo>
                      <a:pt x="27" y="14112"/>
                    </a:lnTo>
                    <a:lnTo>
                      <a:pt x="21" y="14100"/>
                    </a:lnTo>
                    <a:lnTo>
                      <a:pt x="16" y="14087"/>
                    </a:lnTo>
                    <a:lnTo>
                      <a:pt x="12" y="14075"/>
                    </a:lnTo>
                    <a:lnTo>
                      <a:pt x="9" y="14062"/>
                    </a:lnTo>
                    <a:lnTo>
                      <a:pt x="6" y="14049"/>
                    </a:lnTo>
                    <a:lnTo>
                      <a:pt x="3" y="14036"/>
                    </a:lnTo>
                    <a:lnTo>
                      <a:pt x="1" y="14023"/>
                    </a:lnTo>
                    <a:lnTo>
                      <a:pt x="0" y="14009"/>
                    </a:lnTo>
                    <a:lnTo>
                      <a:pt x="0" y="13995"/>
                    </a:lnTo>
                    <a:lnTo>
                      <a:pt x="0" y="13188"/>
                    </a:lnTo>
                    <a:lnTo>
                      <a:pt x="0" y="13175"/>
                    </a:lnTo>
                    <a:lnTo>
                      <a:pt x="1" y="13161"/>
                    </a:lnTo>
                    <a:lnTo>
                      <a:pt x="3" y="13147"/>
                    </a:lnTo>
                    <a:lnTo>
                      <a:pt x="6" y="13133"/>
                    </a:lnTo>
                    <a:lnTo>
                      <a:pt x="9" y="13120"/>
                    </a:lnTo>
                    <a:lnTo>
                      <a:pt x="12" y="13108"/>
                    </a:lnTo>
                    <a:lnTo>
                      <a:pt x="16" y="13095"/>
                    </a:lnTo>
                    <a:lnTo>
                      <a:pt x="21" y="13083"/>
                    </a:lnTo>
                    <a:lnTo>
                      <a:pt x="27" y="13071"/>
                    </a:lnTo>
                    <a:lnTo>
                      <a:pt x="33" y="13060"/>
                    </a:lnTo>
                    <a:lnTo>
                      <a:pt x="39" y="13048"/>
                    </a:lnTo>
                    <a:lnTo>
                      <a:pt x="46" y="13037"/>
                    </a:lnTo>
                    <a:lnTo>
                      <a:pt x="54" y="13027"/>
                    </a:lnTo>
                    <a:lnTo>
                      <a:pt x="62" y="13017"/>
                    </a:lnTo>
                    <a:lnTo>
                      <a:pt x="70" y="13007"/>
                    </a:lnTo>
                    <a:lnTo>
                      <a:pt x="79" y="12998"/>
                    </a:lnTo>
                    <a:lnTo>
                      <a:pt x="88" y="12989"/>
                    </a:lnTo>
                    <a:lnTo>
                      <a:pt x="98" y="12980"/>
                    </a:lnTo>
                    <a:lnTo>
                      <a:pt x="108" y="12972"/>
                    </a:lnTo>
                    <a:lnTo>
                      <a:pt x="119" y="12965"/>
                    </a:lnTo>
                    <a:lnTo>
                      <a:pt x="130" y="12958"/>
                    </a:lnTo>
                    <a:lnTo>
                      <a:pt x="141" y="12951"/>
                    </a:lnTo>
                    <a:lnTo>
                      <a:pt x="153" y="12945"/>
                    </a:lnTo>
                    <a:lnTo>
                      <a:pt x="164" y="12940"/>
                    </a:lnTo>
                    <a:lnTo>
                      <a:pt x="177" y="12935"/>
                    </a:lnTo>
                    <a:lnTo>
                      <a:pt x="189" y="12931"/>
                    </a:lnTo>
                    <a:lnTo>
                      <a:pt x="202" y="12927"/>
                    </a:lnTo>
                    <a:lnTo>
                      <a:pt x="215" y="12924"/>
                    </a:lnTo>
                    <a:lnTo>
                      <a:pt x="228" y="12922"/>
                    </a:lnTo>
                    <a:lnTo>
                      <a:pt x="241" y="12920"/>
                    </a:lnTo>
                    <a:lnTo>
                      <a:pt x="255" y="12919"/>
                    </a:lnTo>
                    <a:lnTo>
                      <a:pt x="269" y="12919"/>
                    </a:lnTo>
                    <a:lnTo>
                      <a:pt x="2042" y="12919"/>
                    </a:lnTo>
                    <a:lnTo>
                      <a:pt x="2042" y="10631"/>
                    </a:lnTo>
                    <a:lnTo>
                      <a:pt x="269" y="10631"/>
                    </a:lnTo>
                    <a:lnTo>
                      <a:pt x="255" y="10631"/>
                    </a:lnTo>
                    <a:lnTo>
                      <a:pt x="241" y="10629"/>
                    </a:lnTo>
                    <a:lnTo>
                      <a:pt x="228" y="10628"/>
                    </a:lnTo>
                    <a:lnTo>
                      <a:pt x="215" y="10625"/>
                    </a:lnTo>
                    <a:lnTo>
                      <a:pt x="202" y="10622"/>
                    </a:lnTo>
                    <a:lnTo>
                      <a:pt x="189" y="10619"/>
                    </a:lnTo>
                    <a:lnTo>
                      <a:pt x="177" y="10614"/>
                    </a:lnTo>
                    <a:lnTo>
                      <a:pt x="164" y="10610"/>
                    </a:lnTo>
                    <a:lnTo>
                      <a:pt x="153" y="10604"/>
                    </a:lnTo>
                    <a:lnTo>
                      <a:pt x="141" y="10598"/>
                    </a:lnTo>
                    <a:lnTo>
                      <a:pt x="130" y="10592"/>
                    </a:lnTo>
                    <a:lnTo>
                      <a:pt x="119" y="10585"/>
                    </a:lnTo>
                    <a:lnTo>
                      <a:pt x="108" y="10577"/>
                    </a:lnTo>
                    <a:lnTo>
                      <a:pt x="98" y="10569"/>
                    </a:lnTo>
                    <a:lnTo>
                      <a:pt x="88" y="10561"/>
                    </a:lnTo>
                    <a:lnTo>
                      <a:pt x="79" y="10552"/>
                    </a:lnTo>
                    <a:lnTo>
                      <a:pt x="70" y="10543"/>
                    </a:lnTo>
                    <a:lnTo>
                      <a:pt x="62" y="10533"/>
                    </a:lnTo>
                    <a:lnTo>
                      <a:pt x="54" y="10523"/>
                    </a:lnTo>
                    <a:lnTo>
                      <a:pt x="46" y="10512"/>
                    </a:lnTo>
                    <a:lnTo>
                      <a:pt x="39" y="10501"/>
                    </a:lnTo>
                    <a:lnTo>
                      <a:pt x="33" y="10490"/>
                    </a:lnTo>
                    <a:lnTo>
                      <a:pt x="27" y="10478"/>
                    </a:lnTo>
                    <a:lnTo>
                      <a:pt x="21" y="10466"/>
                    </a:lnTo>
                    <a:lnTo>
                      <a:pt x="16" y="10454"/>
                    </a:lnTo>
                    <a:lnTo>
                      <a:pt x="12" y="10442"/>
                    </a:lnTo>
                    <a:lnTo>
                      <a:pt x="9" y="10429"/>
                    </a:lnTo>
                    <a:lnTo>
                      <a:pt x="6" y="10416"/>
                    </a:lnTo>
                    <a:lnTo>
                      <a:pt x="3" y="10403"/>
                    </a:lnTo>
                    <a:lnTo>
                      <a:pt x="1" y="10389"/>
                    </a:lnTo>
                    <a:lnTo>
                      <a:pt x="0" y="10376"/>
                    </a:lnTo>
                    <a:lnTo>
                      <a:pt x="0" y="10362"/>
                    </a:lnTo>
                    <a:lnTo>
                      <a:pt x="0" y="9554"/>
                    </a:lnTo>
                    <a:lnTo>
                      <a:pt x="0" y="9540"/>
                    </a:lnTo>
                    <a:lnTo>
                      <a:pt x="1" y="9527"/>
                    </a:lnTo>
                    <a:lnTo>
                      <a:pt x="3" y="9513"/>
                    </a:lnTo>
                    <a:lnTo>
                      <a:pt x="6" y="9500"/>
                    </a:lnTo>
                    <a:lnTo>
                      <a:pt x="9" y="9487"/>
                    </a:lnTo>
                    <a:lnTo>
                      <a:pt x="12" y="9474"/>
                    </a:lnTo>
                    <a:lnTo>
                      <a:pt x="16" y="9462"/>
                    </a:lnTo>
                    <a:lnTo>
                      <a:pt x="21" y="9450"/>
                    </a:lnTo>
                    <a:lnTo>
                      <a:pt x="27" y="9438"/>
                    </a:lnTo>
                    <a:lnTo>
                      <a:pt x="33" y="9426"/>
                    </a:lnTo>
                    <a:lnTo>
                      <a:pt x="39" y="9415"/>
                    </a:lnTo>
                    <a:lnTo>
                      <a:pt x="46" y="9404"/>
                    </a:lnTo>
                    <a:lnTo>
                      <a:pt x="54" y="9394"/>
                    </a:lnTo>
                    <a:lnTo>
                      <a:pt x="62" y="9383"/>
                    </a:lnTo>
                    <a:lnTo>
                      <a:pt x="70" y="9374"/>
                    </a:lnTo>
                    <a:lnTo>
                      <a:pt x="79" y="9364"/>
                    </a:lnTo>
                    <a:lnTo>
                      <a:pt x="88" y="9355"/>
                    </a:lnTo>
                    <a:lnTo>
                      <a:pt x="98" y="9347"/>
                    </a:lnTo>
                    <a:lnTo>
                      <a:pt x="108" y="9339"/>
                    </a:lnTo>
                    <a:lnTo>
                      <a:pt x="119" y="9331"/>
                    </a:lnTo>
                    <a:lnTo>
                      <a:pt x="130" y="9324"/>
                    </a:lnTo>
                    <a:lnTo>
                      <a:pt x="141" y="9318"/>
                    </a:lnTo>
                    <a:lnTo>
                      <a:pt x="153" y="9312"/>
                    </a:lnTo>
                    <a:lnTo>
                      <a:pt x="164" y="9307"/>
                    </a:lnTo>
                    <a:lnTo>
                      <a:pt x="177" y="9302"/>
                    </a:lnTo>
                    <a:lnTo>
                      <a:pt x="189" y="9297"/>
                    </a:lnTo>
                    <a:lnTo>
                      <a:pt x="202" y="9294"/>
                    </a:lnTo>
                    <a:lnTo>
                      <a:pt x="215" y="9291"/>
                    </a:lnTo>
                    <a:lnTo>
                      <a:pt x="228" y="9288"/>
                    </a:lnTo>
                    <a:lnTo>
                      <a:pt x="241" y="9287"/>
                    </a:lnTo>
                    <a:lnTo>
                      <a:pt x="255" y="9286"/>
                    </a:lnTo>
                    <a:lnTo>
                      <a:pt x="269" y="9285"/>
                    </a:lnTo>
                    <a:lnTo>
                      <a:pt x="2042" y="9285"/>
                    </a:lnTo>
                    <a:lnTo>
                      <a:pt x="2042" y="6998"/>
                    </a:lnTo>
                    <a:lnTo>
                      <a:pt x="269" y="6998"/>
                    </a:lnTo>
                    <a:lnTo>
                      <a:pt x="255" y="6997"/>
                    </a:lnTo>
                    <a:lnTo>
                      <a:pt x="241" y="6996"/>
                    </a:lnTo>
                    <a:lnTo>
                      <a:pt x="228" y="6994"/>
                    </a:lnTo>
                    <a:lnTo>
                      <a:pt x="215" y="6992"/>
                    </a:lnTo>
                    <a:lnTo>
                      <a:pt x="202" y="6989"/>
                    </a:lnTo>
                    <a:lnTo>
                      <a:pt x="189" y="6985"/>
                    </a:lnTo>
                    <a:lnTo>
                      <a:pt x="177" y="6981"/>
                    </a:lnTo>
                    <a:lnTo>
                      <a:pt x="164" y="6976"/>
                    </a:lnTo>
                    <a:lnTo>
                      <a:pt x="153" y="6971"/>
                    </a:lnTo>
                    <a:lnTo>
                      <a:pt x="141" y="6965"/>
                    </a:lnTo>
                    <a:lnTo>
                      <a:pt x="130" y="6959"/>
                    </a:lnTo>
                    <a:lnTo>
                      <a:pt x="119" y="6952"/>
                    </a:lnTo>
                    <a:lnTo>
                      <a:pt x="108" y="6944"/>
                    </a:lnTo>
                    <a:lnTo>
                      <a:pt x="98" y="6936"/>
                    </a:lnTo>
                    <a:lnTo>
                      <a:pt x="88" y="6928"/>
                    </a:lnTo>
                    <a:lnTo>
                      <a:pt x="79" y="6919"/>
                    </a:lnTo>
                    <a:lnTo>
                      <a:pt x="70" y="6909"/>
                    </a:lnTo>
                    <a:lnTo>
                      <a:pt x="62" y="6899"/>
                    </a:lnTo>
                    <a:lnTo>
                      <a:pt x="54" y="6889"/>
                    </a:lnTo>
                    <a:lnTo>
                      <a:pt x="46" y="6879"/>
                    </a:lnTo>
                    <a:lnTo>
                      <a:pt x="39" y="6868"/>
                    </a:lnTo>
                    <a:lnTo>
                      <a:pt x="33" y="6857"/>
                    </a:lnTo>
                    <a:lnTo>
                      <a:pt x="27" y="6845"/>
                    </a:lnTo>
                    <a:lnTo>
                      <a:pt x="21" y="6833"/>
                    </a:lnTo>
                    <a:lnTo>
                      <a:pt x="16" y="6821"/>
                    </a:lnTo>
                    <a:lnTo>
                      <a:pt x="12" y="6808"/>
                    </a:lnTo>
                    <a:lnTo>
                      <a:pt x="9" y="6796"/>
                    </a:lnTo>
                    <a:lnTo>
                      <a:pt x="6" y="6783"/>
                    </a:lnTo>
                    <a:lnTo>
                      <a:pt x="3" y="6770"/>
                    </a:lnTo>
                    <a:lnTo>
                      <a:pt x="1" y="6756"/>
                    </a:lnTo>
                    <a:lnTo>
                      <a:pt x="0" y="6742"/>
                    </a:lnTo>
                    <a:lnTo>
                      <a:pt x="0" y="6729"/>
                    </a:lnTo>
                    <a:lnTo>
                      <a:pt x="0" y="5921"/>
                    </a:lnTo>
                    <a:lnTo>
                      <a:pt x="0" y="5907"/>
                    </a:lnTo>
                    <a:lnTo>
                      <a:pt x="1" y="5894"/>
                    </a:lnTo>
                    <a:lnTo>
                      <a:pt x="3" y="5880"/>
                    </a:lnTo>
                    <a:lnTo>
                      <a:pt x="6" y="5867"/>
                    </a:lnTo>
                    <a:lnTo>
                      <a:pt x="9" y="5854"/>
                    </a:lnTo>
                    <a:lnTo>
                      <a:pt x="12" y="5841"/>
                    </a:lnTo>
                    <a:lnTo>
                      <a:pt x="16" y="5829"/>
                    </a:lnTo>
                    <a:lnTo>
                      <a:pt x="21" y="5817"/>
                    </a:lnTo>
                    <a:lnTo>
                      <a:pt x="27" y="5805"/>
                    </a:lnTo>
                    <a:lnTo>
                      <a:pt x="33" y="5793"/>
                    </a:lnTo>
                    <a:lnTo>
                      <a:pt x="39" y="5782"/>
                    </a:lnTo>
                    <a:lnTo>
                      <a:pt x="46" y="5771"/>
                    </a:lnTo>
                    <a:lnTo>
                      <a:pt x="54" y="5760"/>
                    </a:lnTo>
                    <a:lnTo>
                      <a:pt x="62" y="5750"/>
                    </a:lnTo>
                    <a:lnTo>
                      <a:pt x="70" y="5740"/>
                    </a:lnTo>
                    <a:lnTo>
                      <a:pt x="79" y="5731"/>
                    </a:lnTo>
                    <a:lnTo>
                      <a:pt x="88" y="5722"/>
                    </a:lnTo>
                    <a:lnTo>
                      <a:pt x="98" y="5714"/>
                    </a:lnTo>
                    <a:lnTo>
                      <a:pt x="108" y="5706"/>
                    </a:lnTo>
                    <a:lnTo>
                      <a:pt x="119" y="5698"/>
                    </a:lnTo>
                    <a:lnTo>
                      <a:pt x="130" y="5691"/>
                    </a:lnTo>
                    <a:lnTo>
                      <a:pt x="141" y="5685"/>
                    </a:lnTo>
                    <a:lnTo>
                      <a:pt x="153" y="5679"/>
                    </a:lnTo>
                    <a:lnTo>
                      <a:pt x="164" y="5673"/>
                    </a:lnTo>
                    <a:lnTo>
                      <a:pt x="177" y="5668"/>
                    </a:lnTo>
                    <a:lnTo>
                      <a:pt x="189" y="5664"/>
                    </a:lnTo>
                    <a:lnTo>
                      <a:pt x="202" y="5661"/>
                    </a:lnTo>
                    <a:lnTo>
                      <a:pt x="215" y="5658"/>
                    </a:lnTo>
                    <a:lnTo>
                      <a:pt x="228" y="5655"/>
                    </a:lnTo>
                    <a:lnTo>
                      <a:pt x="241" y="5653"/>
                    </a:lnTo>
                    <a:lnTo>
                      <a:pt x="255" y="5652"/>
                    </a:lnTo>
                    <a:lnTo>
                      <a:pt x="269" y="5652"/>
                    </a:lnTo>
                    <a:lnTo>
                      <a:pt x="2042" y="5652"/>
                    </a:lnTo>
                    <a:lnTo>
                      <a:pt x="2042" y="3364"/>
                    </a:lnTo>
                    <a:lnTo>
                      <a:pt x="269" y="3364"/>
                    </a:lnTo>
                    <a:lnTo>
                      <a:pt x="255" y="3364"/>
                    </a:lnTo>
                    <a:lnTo>
                      <a:pt x="241" y="3363"/>
                    </a:lnTo>
                    <a:lnTo>
                      <a:pt x="228" y="3361"/>
                    </a:lnTo>
                    <a:lnTo>
                      <a:pt x="215" y="3359"/>
                    </a:lnTo>
                    <a:lnTo>
                      <a:pt x="202" y="3356"/>
                    </a:lnTo>
                    <a:lnTo>
                      <a:pt x="189" y="3352"/>
                    </a:lnTo>
                    <a:lnTo>
                      <a:pt x="177" y="3348"/>
                    </a:lnTo>
                    <a:lnTo>
                      <a:pt x="164" y="3343"/>
                    </a:lnTo>
                    <a:lnTo>
                      <a:pt x="153" y="3338"/>
                    </a:lnTo>
                    <a:lnTo>
                      <a:pt x="141" y="3332"/>
                    </a:lnTo>
                    <a:lnTo>
                      <a:pt x="130" y="3325"/>
                    </a:lnTo>
                    <a:lnTo>
                      <a:pt x="119" y="3318"/>
                    </a:lnTo>
                    <a:lnTo>
                      <a:pt x="108" y="3311"/>
                    </a:lnTo>
                    <a:lnTo>
                      <a:pt x="98" y="3303"/>
                    </a:lnTo>
                    <a:lnTo>
                      <a:pt x="88" y="3294"/>
                    </a:lnTo>
                    <a:lnTo>
                      <a:pt x="79" y="3285"/>
                    </a:lnTo>
                    <a:lnTo>
                      <a:pt x="70" y="3276"/>
                    </a:lnTo>
                    <a:lnTo>
                      <a:pt x="62" y="3266"/>
                    </a:lnTo>
                    <a:lnTo>
                      <a:pt x="54" y="3256"/>
                    </a:lnTo>
                    <a:lnTo>
                      <a:pt x="46" y="3246"/>
                    </a:lnTo>
                    <a:lnTo>
                      <a:pt x="39" y="3235"/>
                    </a:lnTo>
                    <a:lnTo>
                      <a:pt x="33" y="3223"/>
                    </a:lnTo>
                    <a:lnTo>
                      <a:pt x="27" y="3212"/>
                    </a:lnTo>
                    <a:lnTo>
                      <a:pt x="21" y="3200"/>
                    </a:lnTo>
                    <a:lnTo>
                      <a:pt x="16" y="3188"/>
                    </a:lnTo>
                    <a:lnTo>
                      <a:pt x="12" y="3175"/>
                    </a:lnTo>
                    <a:lnTo>
                      <a:pt x="9" y="3162"/>
                    </a:lnTo>
                    <a:lnTo>
                      <a:pt x="6" y="3149"/>
                    </a:lnTo>
                    <a:lnTo>
                      <a:pt x="3" y="3136"/>
                    </a:lnTo>
                    <a:lnTo>
                      <a:pt x="1" y="3123"/>
                    </a:lnTo>
                    <a:lnTo>
                      <a:pt x="0" y="3109"/>
                    </a:lnTo>
                    <a:lnTo>
                      <a:pt x="0" y="3095"/>
                    </a:lnTo>
                    <a:lnTo>
                      <a:pt x="0" y="2288"/>
                    </a:lnTo>
                    <a:lnTo>
                      <a:pt x="0" y="2274"/>
                    </a:lnTo>
                    <a:lnTo>
                      <a:pt x="1" y="2260"/>
                    </a:lnTo>
                    <a:lnTo>
                      <a:pt x="3" y="2247"/>
                    </a:lnTo>
                    <a:lnTo>
                      <a:pt x="6" y="2234"/>
                    </a:lnTo>
                    <a:lnTo>
                      <a:pt x="9" y="2221"/>
                    </a:lnTo>
                    <a:lnTo>
                      <a:pt x="12" y="2208"/>
                    </a:lnTo>
                    <a:lnTo>
                      <a:pt x="16" y="2195"/>
                    </a:lnTo>
                    <a:lnTo>
                      <a:pt x="21" y="2183"/>
                    </a:lnTo>
                    <a:lnTo>
                      <a:pt x="27" y="2171"/>
                    </a:lnTo>
                    <a:lnTo>
                      <a:pt x="33" y="2160"/>
                    </a:lnTo>
                    <a:lnTo>
                      <a:pt x="39" y="2149"/>
                    </a:lnTo>
                    <a:lnTo>
                      <a:pt x="46" y="2138"/>
                    </a:lnTo>
                    <a:lnTo>
                      <a:pt x="54" y="2127"/>
                    </a:lnTo>
                    <a:lnTo>
                      <a:pt x="62" y="2117"/>
                    </a:lnTo>
                    <a:lnTo>
                      <a:pt x="70" y="2107"/>
                    </a:lnTo>
                    <a:lnTo>
                      <a:pt x="79" y="2098"/>
                    </a:lnTo>
                    <a:lnTo>
                      <a:pt x="88" y="2089"/>
                    </a:lnTo>
                    <a:lnTo>
                      <a:pt x="98" y="2080"/>
                    </a:lnTo>
                    <a:lnTo>
                      <a:pt x="108" y="2072"/>
                    </a:lnTo>
                    <a:lnTo>
                      <a:pt x="119" y="2065"/>
                    </a:lnTo>
                    <a:lnTo>
                      <a:pt x="130" y="2058"/>
                    </a:lnTo>
                    <a:lnTo>
                      <a:pt x="141" y="2051"/>
                    </a:lnTo>
                    <a:lnTo>
                      <a:pt x="153" y="2045"/>
                    </a:lnTo>
                    <a:lnTo>
                      <a:pt x="164" y="2040"/>
                    </a:lnTo>
                    <a:lnTo>
                      <a:pt x="177" y="2035"/>
                    </a:lnTo>
                    <a:lnTo>
                      <a:pt x="189" y="2031"/>
                    </a:lnTo>
                    <a:lnTo>
                      <a:pt x="202" y="2027"/>
                    </a:lnTo>
                    <a:lnTo>
                      <a:pt x="215" y="2024"/>
                    </a:lnTo>
                    <a:lnTo>
                      <a:pt x="228" y="2022"/>
                    </a:lnTo>
                    <a:lnTo>
                      <a:pt x="241" y="2020"/>
                    </a:lnTo>
                    <a:lnTo>
                      <a:pt x="255" y="2019"/>
                    </a:lnTo>
                    <a:lnTo>
                      <a:pt x="269" y="2019"/>
                    </a:lnTo>
                    <a:lnTo>
                      <a:pt x="2042" y="2019"/>
                    </a:lnTo>
                    <a:lnTo>
                      <a:pt x="2042" y="808"/>
                    </a:lnTo>
                    <a:lnTo>
                      <a:pt x="2043" y="766"/>
                    </a:lnTo>
                    <a:lnTo>
                      <a:pt x="2046" y="726"/>
                    </a:lnTo>
                    <a:lnTo>
                      <a:pt x="2051" y="685"/>
                    </a:lnTo>
                    <a:lnTo>
                      <a:pt x="2058" y="646"/>
                    </a:lnTo>
                    <a:lnTo>
                      <a:pt x="2067" y="607"/>
                    </a:lnTo>
                    <a:lnTo>
                      <a:pt x="2077" y="568"/>
                    </a:lnTo>
                    <a:lnTo>
                      <a:pt x="2090" y="530"/>
                    </a:lnTo>
                    <a:lnTo>
                      <a:pt x="2104" y="493"/>
                    </a:lnTo>
                    <a:lnTo>
                      <a:pt x="2119" y="458"/>
                    </a:lnTo>
                    <a:lnTo>
                      <a:pt x="2137" y="423"/>
                    </a:lnTo>
                    <a:lnTo>
                      <a:pt x="2156" y="389"/>
                    </a:lnTo>
                    <a:lnTo>
                      <a:pt x="2176" y="356"/>
                    </a:lnTo>
                    <a:lnTo>
                      <a:pt x="2198" y="325"/>
                    </a:lnTo>
                    <a:lnTo>
                      <a:pt x="2221" y="294"/>
                    </a:lnTo>
                    <a:lnTo>
                      <a:pt x="2246" y="265"/>
                    </a:lnTo>
                    <a:lnTo>
                      <a:pt x="2272" y="237"/>
                    </a:lnTo>
                    <a:lnTo>
                      <a:pt x="2299" y="210"/>
                    </a:lnTo>
                    <a:lnTo>
                      <a:pt x="2328" y="185"/>
                    </a:lnTo>
                    <a:lnTo>
                      <a:pt x="2357" y="161"/>
                    </a:lnTo>
                    <a:lnTo>
                      <a:pt x="2388" y="138"/>
                    </a:lnTo>
                    <a:lnTo>
                      <a:pt x="2419" y="117"/>
                    </a:lnTo>
                    <a:lnTo>
                      <a:pt x="2452" y="98"/>
                    </a:lnTo>
                    <a:lnTo>
                      <a:pt x="2486" y="80"/>
                    </a:lnTo>
                    <a:lnTo>
                      <a:pt x="2520" y="64"/>
                    </a:lnTo>
                    <a:lnTo>
                      <a:pt x="2555" y="49"/>
                    </a:lnTo>
                    <a:lnTo>
                      <a:pt x="2592" y="36"/>
                    </a:lnTo>
                    <a:lnTo>
                      <a:pt x="2629" y="26"/>
                    </a:lnTo>
                    <a:lnTo>
                      <a:pt x="2666" y="16"/>
                    </a:lnTo>
                    <a:lnTo>
                      <a:pt x="2705" y="9"/>
                    </a:lnTo>
                    <a:lnTo>
                      <a:pt x="2743" y="4"/>
                    </a:lnTo>
                    <a:lnTo>
                      <a:pt x="2783" y="1"/>
                    </a:lnTo>
                    <a:lnTo>
                      <a:pt x="2823" y="0"/>
                    </a:lnTo>
                    <a:close/>
                    <a:moveTo>
                      <a:pt x="3510" y="12663"/>
                    </a:moveTo>
                    <a:lnTo>
                      <a:pt x="3542" y="12663"/>
                    </a:lnTo>
                    <a:lnTo>
                      <a:pt x="3574" y="12666"/>
                    </a:lnTo>
                    <a:lnTo>
                      <a:pt x="3605" y="12670"/>
                    </a:lnTo>
                    <a:lnTo>
                      <a:pt x="3636" y="12675"/>
                    </a:lnTo>
                    <a:lnTo>
                      <a:pt x="3666" y="12682"/>
                    </a:lnTo>
                    <a:lnTo>
                      <a:pt x="3695" y="12691"/>
                    </a:lnTo>
                    <a:lnTo>
                      <a:pt x="3725" y="12700"/>
                    </a:lnTo>
                    <a:lnTo>
                      <a:pt x="3753" y="12711"/>
                    </a:lnTo>
                    <a:lnTo>
                      <a:pt x="3781" y="12724"/>
                    </a:lnTo>
                    <a:lnTo>
                      <a:pt x="3808" y="12738"/>
                    </a:lnTo>
                    <a:lnTo>
                      <a:pt x="3834" y="12753"/>
                    </a:lnTo>
                    <a:lnTo>
                      <a:pt x="3859" y="12769"/>
                    </a:lnTo>
                    <a:lnTo>
                      <a:pt x="3884" y="12786"/>
                    </a:lnTo>
                    <a:lnTo>
                      <a:pt x="3907" y="12805"/>
                    </a:lnTo>
                    <a:lnTo>
                      <a:pt x="3930" y="12824"/>
                    </a:lnTo>
                    <a:lnTo>
                      <a:pt x="3951" y="12845"/>
                    </a:lnTo>
                    <a:lnTo>
                      <a:pt x="3972" y="12867"/>
                    </a:lnTo>
                    <a:lnTo>
                      <a:pt x="3991" y="12889"/>
                    </a:lnTo>
                    <a:lnTo>
                      <a:pt x="4010" y="12913"/>
                    </a:lnTo>
                    <a:lnTo>
                      <a:pt x="4027" y="12937"/>
                    </a:lnTo>
                    <a:lnTo>
                      <a:pt x="4044" y="12962"/>
                    </a:lnTo>
                    <a:lnTo>
                      <a:pt x="4058" y="12988"/>
                    </a:lnTo>
                    <a:lnTo>
                      <a:pt x="4072" y="13015"/>
                    </a:lnTo>
                    <a:lnTo>
                      <a:pt x="4085" y="13043"/>
                    </a:lnTo>
                    <a:lnTo>
                      <a:pt x="4096" y="13071"/>
                    </a:lnTo>
                    <a:lnTo>
                      <a:pt x="4106" y="13100"/>
                    </a:lnTo>
                    <a:lnTo>
                      <a:pt x="4114" y="13129"/>
                    </a:lnTo>
                    <a:lnTo>
                      <a:pt x="4121" y="13161"/>
                    </a:lnTo>
                    <a:lnTo>
                      <a:pt x="4126" y="13191"/>
                    </a:lnTo>
                    <a:lnTo>
                      <a:pt x="4130" y="13222"/>
                    </a:lnTo>
                    <a:lnTo>
                      <a:pt x="4133" y="13254"/>
                    </a:lnTo>
                    <a:lnTo>
                      <a:pt x="4134" y="13286"/>
                    </a:lnTo>
                    <a:lnTo>
                      <a:pt x="4133" y="13318"/>
                    </a:lnTo>
                    <a:lnTo>
                      <a:pt x="4130" y="13350"/>
                    </a:lnTo>
                    <a:lnTo>
                      <a:pt x="4126" y="13381"/>
                    </a:lnTo>
                    <a:lnTo>
                      <a:pt x="4121" y="13411"/>
                    </a:lnTo>
                    <a:lnTo>
                      <a:pt x="4114" y="13441"/>
                    </a:lnTo>
                    <a:lnTo>
                      <a:pt x="4106" y="13471"/>
                    </a:lnTo>
                    <a:lnTo>
                      <a:pt x="4096" y="13500"/>
                    </a:lnTo>
                    <a:lnTo>
                      <a:pt x="4085" y="13528"/>
                    </a:lnTo>
                    <a:lnTo>
                      <a:pt x="4072" y="13556"/>
                    </a:lnTo>
                    <a:lnTo>
                      <a:pt x="4058" y="13583"/>
                    </a:lnTo>
                    <a:lnTo>
                      <a:pt x="4044" y="13609"/>
                    </a:lnTo>
                    <a:lnTo>
                      <a:pt x="4027" y="13634"/>
                    </a:lnTo>
                    <a:lnTo>
                      <a:pt x="4010" y="13658"/>
                    </a:lnTo>
                    <a:lnTo>
                      <a:pt x="3991" y="13682"/>
                    </a:lnTo>
                    <a:lnTo>
                      <a:pt x="3972" y="13704"/>
                    </a:lnTo>
                    <a:lnTo>
                      <a:pt x="3951" y="13726"/>
                    </a:lnTo>
                    <a:lnTo>
                      <a:pt x="3930" y="13747"/>
                    </a:lnTo>
                    <a:lnTo>
                      <a:pt x="3907" y="13766"/>
                    </a:lnTo>
                    <a:lnTo>
                      <a:pt x="3884" y="13785"/>
                    </a:lnTo>
                    <a:lnTo>
                      <a:pt x="3859" y="13802"/>
                    </a:lnTo>
                    <a:lnTo>
                      <a:pt x="3834" y="13818"/>
                    </a:lnTo>
                    <a:lnTo>
                      <a:pt x="3808" y="13833"/>
                    </a:lnTo>
                    <a:lnTo>
                      <a:pt x="3781" y="13847"/>
                    </a:lnTo>
                    <a:lnTo>
                      <a:pt x="3753" y="13859"/>
                    </a:lnTo>
                    <a:lnTo>
                      <a:pt x="3725" y="13871"/>
                    </a:lnTo>
                    <a:lnTo>
                      <a:pt x="3695" y="13880"/>
                    </a:lnTo>
                    <a:lnTo>
                      <a:pt x="3666" y="13889"/>
                    </a:lnTo>
                    <a:lnTo>
                      <a:pt x="3636" y="13896"/>
                    </a:lnTo>
                    <a:lnTo>
                      <a:pt x="3605" y="13901"/>
                    </a:lnTo>
                    <a:lnTo>
                      <a:pt x="3574" y="13905"/>
                    </a:lnTo>
                    <a:lnTo>
                      <a:pt x="3542" y="13908"/>
                    </a:lnTo>
                    <a:lnTo>
                      <a:pt x="3510" y="13908"/>
                    </a:lnTo>
                    <a:lnTo>
                      <a:pt x="3478" y="13908"/>
                    </a:lnTo>
                    <a:lnTo>
                      <a:pt x="3447" y="13905"/>
                    </a:lnTo>
                    <a:lnTo>
                      <a:pt x="3416" y="13901"/>
                    </a:lnTo>
                    <a:lnTo>
                      <a:pt x="3385" y="13896"/>
                    </a:lnTo>
                    <a:lnTo>
                      <a:pt x="3355" y="13889"/>
                    </a:lnTo>
                    <a:lnTo>
                      <a:pt x="3325" y="13880"/>
                    </a:lnTo>
                    <a:lnTo>
                      <a:pt x="3296" y="13871"/>
                    </a:lnTo>
                    <a:lnTo>
                      <a:pt x="3268" y="13859"/>
                    </a:lnTo>
                    <a:lnTo>
                      <a:pt x="3240" y="13847"/>
                    </a:lnTo>
                    <a:lnTo>
                      <a:pt x="3214" y="13833"/>
                    </a:lnTo>
                    <a:lnTo>
                      <a:pt x="3188" y="13818"/>
                    </a:lnTo>
                    <a:lnTo>
                      <a:pt x="3162" y="13802"/>
                    </a:lnTo>
                    <a:lnTo>
                      <a:pt x="3138" y="13785"/>
                    </a:lnTo>
                    <a:lnTo>
                      <a:pt x="3114" y="13766"/>
                    </a:lnTo>
                    <a:lnTo>
                      <a:pt x="3092" y="13747"/>
                    </a:lnTo>
                    <a:lnTo>
                      <a:pt x="3070" y="13726"/>
                    </a:lnTo>
                    <a:lnTo>
                      <a:pt x="3050" y="13704"/>
                    </a:lnTo>
                    <a:lnTo>
                      <a:pt x="3030" y="13682"/>
                    </a:lnTo>
                    <a:lnTo>
                      <a:pt x="3012" y="13658"/>
                    </a:lnTo>
                    <a:lnTo>
                      <a:pt x="2994" y="13634"/>
                    </a:lnTo>
                    <a:lnTo>
                      <a:pt x="2978" y="13609"/>
                    </a:lnTo>
                    <a:lnTo>
                      <a:pt x="2963" y="13583"/>
                    </a:lnTo>
                    <a:lnTo>
                      <a:pt x="2949" y="13556"/>
                    </a:lnTo>
                    <a:lnTo>
                      <a:pt x="2937" y="13528"/>
                    </a:lnTo>
                    <a:lnTo>
                      <a:pt x="2926" y="13500"/>
                    </a:lnTo>
                    <a:lnTo>
                      <a:pt x="2916" y="13471"/>
                    </a:lnTo>
                    <a:lnTo>
                      <a:pt x="2908" y="13441"/>
                    </a:lnTo>
                    <a:lnTo>
                      <a:pt x="2901" y="13411"/>
                    </a:lnTo>
                    <a:lnTo>
                      <a:pt x="2895" y="13381"/>
                    </a:lnTo>
                    <a:lnTo>
                      <a:pt x="2891" y="13350"/>
                    </a:lnTo>
                    <a:lnTo>
                      <a:pt x="2889" y="13318"/>
                    </a:lnTo>
                    <a:lnTo>
                      <a:pt x="2888" y="13286"/>
                    </a:lnTo>
                    <a:lnTo>
                      <a:pt x="2889" y="13254"/>
                    </a:lnTo>
                    <a:lnTo>
                      <a:pt x="2891" y="13222"/>
                    </a:lnTo>
                    <a:lnTo>
                      <a:pt x="2895" y="13191"/>
                    </a:lnTo>
                    <a:lnTo>
                      <a:pt x="2901" y="13161"/>
                    </a:lnTo>
                    <a:lnTo>
                      <a:pt x="2908" y="13129"/>
                    </a:lnTo>
                    <a:lnTo>
                      <a:pt x="2916" y="13100"/>
                    </a:lnTo>
                    <a:lnTo>
                      <a:pt x="2926" y="13071"/>
                    </a:lnTo>
                    <a:lnTo>
                      <a:pt x="2937" y="13043"/>
                    </a:lnTo>
                    <a:lnTo>
                      <a:pt x="2949" y="13015"/>
                    </a:lnTo>
                    <a:lnTo>
                      <a:pt x="2963" y="12988"/>
                    </a:lnTo>
                    <a:lnTo>
                      <a:pt x="2978" y="12962"/>
                    </a:lnTo>
                    <a:lnTo>
                      <a:pt x="2994" y="12937"/>
                    </a:lnTo>
                    <a:lnTo>
                      <a:pt x="3012" y="12913"/>
                    </a:lnTo>
                    <a:lnTo>
                      <a:pt x="3030" y="12889"/>
                    </a:lnTo>
                    <a:lnTo>
                      <a:pt x="3050" y="12867"/>
                    </a:lnTo>
                    <a:lnTo>
                      <a:pt x="3070" y="12845"/>
                    </a:lnTo>
                    <a:lnTo>
                      <a:pt x="3092" y="12824"/>
                    </a:lnTo>
                    <a:lnTo>
                      <a:pt x="3114" y="12805"/>
                    </a:lnTo>
                    <a:lnTo>
                      <a:pt x="3138" y="12786"/>
                    </a:lnTo>
                    <a:lnTo>
                      <a:pt x="3162" y="12769"/>
                    </a:lnTo>
                    <a:lnTo>
                      <a:pt x="3188" y="12753"/>
                    </a:lnTo>
                    <a:lnTo>
                      <a:pt x="3214" y="12738"/>
                    </a:lnTo>
                    <a:lnTo>
                      <a:pt x="3240" y="12724"/>
                    </a:lnTo>
                    <a:lnTo>
                      <a:pt x="3268" y="12711"/>
                    </a:lnTo>
                    <a:lnTo>
                      <a:pt x="3296" y="12700"/>
                    </a:lnTo>
                    <a:lnTo>
                      <a:pt x="3325" y="12691"/>
                    </a:lnTo>
                    <a:lnTo>
                      <a:pt x="3355" y="12682"/>
                    </a:lnTo>
                    <a:lnTo>
                      <a:pt x="3385" y="12675"/>
                    </a:lnTo>
                    <a:lnTo>
                      <a:pt x="3416" y="12670"/>
                    </a:lnTo>
                    <a:lnTo>
                      <a:pt x="3447" y="12666"/>
                    </a:lnTo>
                    <a:lnTo>
                      <a:pt x="3478" y="12663"/>
                    </a:lnTo>
                    <a:lnTo>
                      <a:pt x="3510" y="12663"/>
                    </a:lnTo>
                    <a:close/>
                    <a:moveTo>
                      <a:pt x="3510" y="9133"/>
                    </a:moveTo>
                    <a:lnTo>
                      <a:pt x="3542" y="9134"/>
                    </a:lnTo>
                    <a:lnTo>
                      <a:pt x="3574" y="9136"/>
                    </a:lnTo>
                    <a:lnTo>
                      <a:pt x="3605" y="9140"/>
                    </a:lnTo>
                    <a:lnTo>
                      <a:pt x="3636" y="9146"/>
                    </a:lnTo>
                    <a:lnTo>
                      <a:pt x="3666" y="9152"/>
                    </a:lnTo>
                    <a:lnTo>
                      <a:pt x="3695" y="9161"/>
                    </a:lnTo>
                    <a:lnTo>
                      <a:pt x="3725" y="9171"/>
                    </a:lnTo>
                    <a:lnTo>
                      <a:pt x="3753" y="9182"/>
                    </a:lnTo>
                    <a:lnTo>
                      <a:pt x="3781" y="9194"/>
                    </a:lnTo>
                    <a:lnTo>
                      <a:pt x="3808" y="9208"/>
                    </a:lnTo>
                    <a:lnTo>
                      <a:pt x="3834" y="9223"/>
                    </a:lnTo>
                    <a:lnTo>
                      <a:pt x="3859" y="9239"/>
                    </a:lnTo>
                    <a:lnTo>
                      <a:pt x="3884" y="9257"/>
                    </a:lnTo>
                    <a:lnTo>
                      <a:pt x="3907" y="9275"/>
                    </a:lnTo>
                    <a:lnTo>
                      <a:pt x="3930" y="9295"/>
                    </a:lnTo>
                    <a:lnTo>
                      <a:pt x="3951" y="9315"/>
                    </a:lnTo>
                    <a:lnTo>
                      <a:pt x="3972" y="9337"/>
                    </a:lnTo>
                    <a:lnTo>
                      <a:pt x="3991" y="9359"/>
                    </a:lnTo>
                    <a:lnTo>
                      <a:pt x="4010" y="9383"/>
                    </a:lnTo>
                    <a:lnTo>
                      <a:pt x="4027" y="9407"/>
                    </a:lnTo>
                    <a:lnTo>
                      <a:pt x="4044" y="9433"/>
                    </a:lnTo>
                    <a:lnTo>
                      <a:pt x="4058" y="9459"/>
                    </a:lnTo>
                    <a:lnTo>
                      <a:pt x="4072" y="9485"/>
                    </a:lnTo>
                    <a:lnTo>
                      <a:pt x="4085" y="9513"/>
                    </a:lnTo>
                    <a:lnTo>
                      <a:pt x="4096" y="9541"/>
                    </a:lnTo>
                    <a:lnTo>
                      <a:pt x="4106" y="9570"/>
                    </a:lnTo>
                    <a:lnTo>
                      <a:pt x="4114" y="9600"/>
                    </a:lnTo>
                    <a:lnTo>
                      <a:pt x="4121" y="9630"/>
                    </a:lnTo>
                    <a:lnTo>
                      <a:pt x="4126" y="9660"/>
                    </a:lnTo>
                    <a:lnTo>
                      <a:pt x="4130" y="9692"/>
                    </a:lnTo>
                    <a:lnTo>
                      <a:pt x="4133" y="9724"/>
                    </a:lnTo>
                    <a:lnTo>
                      <a:pt x="4134" y="9756"/>
                    </a:lnTo>
                    <a:lnTo>
                      <a:pt x="4133" y="9788"/>
                    </a:lnTo>
                    <a:lnTo>
                      <a:pt x="4130" y="9820"/>
                    </a:lnTo>
                    <a:lnTo>
                      <a:pt x="4126" y="9851"/>
                    </a:lnTo>
                    <a:lnTo>
                      <a:pt x="4121" y="9882"/>
                    </a:lnTo>
                    <a:lnTo>
                      <a:pt x="4114" y="9912"/>
                    </a:lnTo>
                    <a:lnTo>
                      <a:pt x="4106" y="9941"/>
                    </a:lnTo>
                    <a:lnTo>
                      <a:pt x="4096" y="9970"/>
                    </a:lnTo>
                    <a:lnTo>
                      <a:pt x="4085" y="9998"/>
                    </a:lnTo>
                    <a:lnTo>
                      <a:pt x="4072" y="10026"/>
                    </a:lnTo>
                    <a:lnTo>
                      <a:pt x="4058" y="10053"/>
                    </a:lnTo>
                    <a:lnTo>
                      <a:pt x="4044" y="10079"/>
                    </a:lnTo>
                    <a:lnTo>
                      <a:pt x="4027" y="10104"/>
                    </a:lnTo>
                    <a:lnTo>
                      <a:pt x="4010" y="10129"/>
                    </a:lnTo>
                    <a:lnTo>
                      <a:pt x="3991" y="10152"/>
                    </a:lnTo>
                    <a:lnTo>
                      <a:pt x="3972" y="10175"/>
                    </a:lnTo>
                    <a:lnTo>
                      <a:pt x="3951" y="10196"/>
                    </a:lnTo>
                    <a:lnTo>
                      <a:pt x="3930" y="10217"/>
                    </a:lnTo>
                    <a:lnTo>
                      <a:pt x="3907" y="10236"/>
                    </a:lnTo>
                    <a:lnTo>
                      <a:pt x="3884" y="10255"/>
                    </a:lnTo>
                    <a:lnTo>
                      <a:pt x="3859" y="10272"/>
                    </a:lnTo>
                    <a:lnTo>
                      <a:pt x="3834" y="10289"/>
                    </a:lnTo>
                    <a:lnTo>
                      <a:pt x="3808" y="10303"/>
                    </a:lnTo>
                    <a:lnTo>
                      <a:pt x="3781" y="10317"/>
                    </a:lnTo>
                    <a:lnTo>
                      <a:pt x="3753" y="10330"/>
                    </a:lnTo>
                    <a:lnTo>
                      <a:pt x="3725" y="10341"/>
                    </a:lnTo>
                    <a:lnTo>
                      <a:pt x="3695" y="10351"/>
                    </a:lnTo>
                    <a:lnTo>
                      <a:pt x="3666" y="10359"/>
                    </a:lnTo>
                    <a:lnTo>
                      <a:pt x="3636" y="10366"/>
                    </a:lnTo>
                    <a:lnTo>
                      <a:pt x="3605" y="10371"/>
                    </a:lnTo>
                    <a:lnTo>
                      <a:pt x="3574" y="10375"/>
                    </a:lnTo>
                    <a:lnTo>
                      <a:pt x="3542" y="10378"/>
                    </a:lnTo>
                    <a:lnTo>
                      <a:pt x="3510" y="10379"/>
                    </a:lnTo>
                    <a:lnTo>
                      <a:pt x="3478" y="10378"/>
                    </a:lnTo>
                    <a:lnTo>
                      <a:pt x="3447" y="10375"/>
                    </a:lnTo>
                    <a:lnTo>
                      <a:pt x="3416" y="10371"/>
                    </a:lnTo>
                    <a:lnTo>
                      <a:pt x="3385" y="10366"/>
                    </a:lnTo>
                    <a:lnTo>
                      <a:pt x="3355" y="10359"/>
                    </a:lnTo>
                    <a:lnTo>
                      <a:pt x="3325" y="10351"/>
                    </a:lnTo>
                    <a:lnTo>
                      <a:pt x="3296" y="10341"/>
                    </a:lnTo>
                    <a:lnTo>
                      <a:pt x="3268" y="10330"/>
                    </a:lnTo>
                    <a:lnTo>
                      <a:pt x="3240" y="10317"/>
                    </a:lnTo>
                    <a:lnTo>
                      <a:pt x="3214" y="10303"/>
                    </a:lnTo>
                    <a:lnTo>
                      <a:pt x="3188" y="10289"/>
                    </a:lnTo>
                    <a:lnTo>
                      <a:pt x="3162" y="10272"/>
                    </a:lnTo>
                    <a:lnTo>
                      <a:pt x="3138" y="10255"/>
                    </a:lnTo>
                    <a:lnTo>
                      <a:pt x="3114" y="10236"/>
                    </a:lnTo>
                    <a:lnTo>
                      <a:pt x="3092" y="10217"/>
                    </a:lnTo>
                    <a:lnTo>
                      <a:pt x="3070" y="10196"/>
                    </a:lnTo>
                    <a:lnTo>
                      <a:pt x="3050" y="10175"/>
                    </a:lnTo>
                    <a:lnTo>
                      <a:pt x="3030" y="10152"/>
                    </a:lnTo>
                    <a:lnTo>
                      <a:pt x="3012" y="10129"/>
                    </a:lnTo>
                    <a:lnTo>
                      <a:pt x="2994" y="10104"/>
                    </a:lnTo>
                    <a:lnTo>
                      <a:pt x="2978" y="10079"/>
                    </a:lnTo>
                    <a:lnTo>
                      <a:pt x="2963" y="10053"/>
                    </a:lnTo>
                    <a:lnTo>
                      <a:pt x="2949" y="10026"/>
                    </a:lnTo>
                    <a:lnTo>
                      <a:pt x="2937" y="9998"/>
                    </a:lnTo>
                    <a:lnTo>
                      <a:pt x="2926" y="9970"/>
                    </a:lnTo>
                    <a:lnTo>
                      <a:pt x="2916" y="9941"/>
                    </a:lnTo>
                    <a:lnTo>
                      <a:pt x="2908" y="9912"/>
                    </a:lnTo>
                    <a:lnTo>
                      <a:pt x="2901" y="9882"/>
                    </a:lnTo>
                    <a:lnTo>
                      <a:pt x="2895" y="9851"/>
                    </a:lnTo>
                    <a:lnTo>
                      <a:pt x="2891" y="9820"/>
                    </a:lnTo>
                    <a:lnTo>
                      <a:pt x="2889" y="9788"/>
                    </a:lnTo>
                    <a:lnTo>
                      <a:pt x="2888" y="9756"/>
                    </a:lnTo>
                    <a:lnTo>
                      <a:pt x="2889" y="9724"/>
                    </a:lnTo>
                    <a:lnTo>
                      <a:pt x="2891" y="9692"/>
                    </a:lnTo>
                    <a:lnTo>
                      <a:pt x="2895" y="9660"/>
                    </a:lnTo>
                    <a:lnTo>
                      <a:pt x="2901" y="9630"/>
                    </a:lnTo>
                    <a:lnTo>
                      <a:pt x="2908" y="9600"/>
                    </a:lnTo>
                    <a:lnTo>
                      <a:pt x="2916" y="9570"/>
                    </a:lnTo>
                    <a:lnTo>
                      <a:pt x="2926" y="9541"/>
                    </a:lnTo>
                    <a:lnTo>
                      <a:pt x="2937" y="9513"/>
                    </a:lnTo>
                    <a:lnTo>
                      <a:pt x="2949" y="9485"/>
                    </a:lnTo>
                    <a:lnTo>
                      <a:pt x="2963" y="9459"/>
                    </a:lnTo>
                    <a:lnTo>
                      <a:pt x="2978" y="9433"/>
                    </a:lnTo>
                    <a:lnTo>
                      <a:pt x="2994" y="9407"/>
                    </a:lnTo>
                    <a:lnTo>
                      <a:pt x="3012" y="9383"/>
                    </a:lnTo>
                    <a:lnTo>
                      <a:pt x="3030" y="9359"/>
                    </a:lnTo>
                    <a:lnTo>
                      <a:pt x="3050" y="9337"/>
                    </a:lnTo>
                    <a:lnTo>
                      <a:pt x="3070" y="9315"/>
                    </a:lnTo>
                    <a:lnTo>
                      <a:pt x="3092" y="9295"/>
                    </a:lnTo>
                    <a:lnTo>
                      <a:pt x="3114" y="9275"/>
                    </a:lnTo>
                    <a:lnTo>
                      <a:pt x="3138" y="9257"/>
                    </a:lnTo>
                    <a:lnTo>
                      <a:pt x="3162" y="9239"/>
                    </a:lnTo>
                    <a:lnTo>
                      <a:pt x="3188" y="9223"/>
                    </a:lnTo>
                    <a:lnTo>
                      <a:pt x="3214" y="9208"/>
                    </a:lnTo>
                    <a:lnTo>
                      <a:pt x="3240" y="9194"/>
                    </a:lnTo>
                    <a:lnTo>
                      <a:pt x="3268" y="9182"/>
                    </a:lnTo>
                    <a:lnTo>
                      <a:pt x="3296" y="9171"/>
                    </a:lnTo>
                    <a:lnTo>
                      <a:pt x="3325" y="9161"/>
                    </a:lnTo>
                    <a:lnTo>
                      <a:pt x="3355" y="9152"/>
                    </a:lnTo>
                    <a:lnTo>
                      <a:pt x="3385" y="9146"/>
                    </a:lnTo>
                    <a:lnTo>
                      <a:pt x="3416" y="9140"/>
                    </a:lnTo>
                    <a:lnTo>
                      <a:pt x="3447" y="9136"/>
                    </a:lnTo>
                    <a:lnTo>
                      <a:pt x="3478" y="9134"/>
                    </a:lnTo>
                    <a:lnTo>
                      <a:pt x="3510" y="9133"/>
                    </a:lnTo>
                    <a:close/>
                    <a:moveTo>
                      <a:pt x="3510" y="5534"/>
                    </a:moveTo>
                    <a:lnTo>
                      <a:pt x="3542" y="5535"/>
                    </a:lnTo>
                    <a:lnTo>
                      <a:pt x="3574" y="5537"/>
                    </a:lnTo>
                    <a:lnTo>
                      <a:pt x="3605" y="5541"/>
                    </a:lnTo>
                    <a:lnTo>
                      <a:pt x="3636" y="5547"/>
                    </a:lnTo>
                    <a:lnTo>
                      <a:pt x="3666" y="5554"/>
                    </a:lnTo>
                    <a:lnTo>
                      <a:pt x="3695" y="5562"/>
                    </a:lnTo>
                    <a:lnTo>
                      <a:pt x="3725" y="5572"/>
                    </a:lnTo>
                    <a:lnTo>
                      <a:pt x="3753" y="5583"/>
                    </a:lnTo>
                    <a:lnTo>
                      <a:pt x="3781" y="5595"/>
                    </a:lnTo>
                    <a:lnTo>
                      <a:pt x="3808" y="5609"/>
                    </a:lnTo>
                    <a:lnTo>
                      <a:pt x="3834" y="5624"/>
                    </a:lnTo>
                    <a:lnTo>
                      <a:pt x="3859" y="5640"/>
                    </a:lnTo>
                    <a:lnTo>
                      <a:pt x="3884" y="5658"/>
                    </a:lnTo>
                    <a:lnTo>
                      <a:pt x="3907" y="5676"/>
                    </a:lnTo>
                    <a:lnTo>
                      <a:pt x="3930" y="5696"/>
                    </a:lnTo>
                    <a:lnTo>
                      <a:pt x="3951" y="5716"/>
                    </a:lnTo>
                    <a:lnTo>
                      <a:pt x="3972" y="5738"/>
                    </a:lnTo>
                    <a:lnTo>
                      <a:pt x="3991" y="5761"/>
                    </a:lnTo>
                    <a:lnTo>
                      <a:pt x="4010" y="5784"/>
                    </a:lnTo>
                    <a:lnTo>
                      <a:pt x="4027" y="5808"/>
                    </a:lnTo>
                    <a:lnTo>
                      <a:pt x="4044" y="5834"/>
                    </a:lnTo>
                    <a:lnTo>
                      <a:pt x="4058" y="5860"/>
                    </a:lnTo>
                    <a:lnTo>
                      <a:pt x="4072" y="5887"/>
                    </a:lnTo>
                    <a:lnTo>
                      <a:pt x="4085" y="5914"/>
                    </a:lnTo>
                    <a:lnTo>
                      <a:pt x="4096" y="5942"/>
                    </a:lnTo>
                    <a:lnTo>
                      <a:pt x="4106" y="5971"/>
                    </a:lnTo>
                    <a:lnTo>
                      <a:pt x="4114" y="6001"/>
                    </a:lnTo>
                    <a:lnTo>
                      <a:pt x="4121" y="6031"/>
                    </a:lnTo>
                    <a:lnTo>
                      <a:pt x="4126" y="6062"/>
                    </a:lnTo>
                    <a:lnTo>
                      <a:pt x="4130" y="6093"/>
                    </a:lnTo>
                    <a:lnTo>
                      <a:pt x="4133" y="6124"/>
                    </a:lnTo>
                    <a:lnTo>
                      <a:pt x="4134" y="6156"/>
                    </a:lnTo>
                    <a:lnTo>
                      <a:pt x="4133" y="6188"/>
                    </a:lnTo>
                    <a:lnTo>
                      <a:pt x="4130" y="6220"/>
                    </a:lnTo>
                    <a:lnTo>
                      <a:pt x="4126" y="6251"/>
                    </a:lnTo>
                    <a:lnTo>
                      <a:pt x="4121" y="6282"/>
                    </a:lnTo>
                    <a:lnTo>
                      <a:pt x="4114" y="6313"/>
                    </a:lnTo>
                    <a:lnTo>
                      <a:pt x="4106" y="6342"/>
                    </a:lnTo>
                    <a:lnTo>
                      <a:pt x="4096" y="6371"/>
                    </a:lnTo>
                    <a:lnTo>
                      <a:pt x="4085" y="6400"/>
                    </a:lnTo>
                    <a:lnTo>
                      <a:pt x="4072" y="6427"/>
                    </a:lnTo>
                    <a:lnTo>
                      <a:pt x="4058" y="6454"/>
                    </a:lnTo>
                    <a:lnTo>
                      <a:pt x="4044" y="6480"/>
                    </a:lnTo>
                    <a:lnTo>
                      <a:pt x="4027" y="6505"/>
                    </a:lnTo>
                    <a:lnTo>
                      <a:pt x="4010" y="6530"/>
                    </a:lnTo>
                    <a:lnTo>
                      <a:pt x="3991" y="6553"/>
                    </a:lnTo>
                    <a:lnTo>
                      <a:pt x="3972" y="6576"/>
                    </a:lnTo>
                    <a:lnTo>
                      <a:pt x="3951" y="6597"/>
                    </a:lnTo>
                    <a:lnTo>
                      <a:pt x="3930" y="6618"/>
                    </a:lnTo>
                    <a:lnTo>
                      <a:pt x="3907" y="6638"/>
                    </a:lnTo>
                    <a:lnTo>
                      <a:pt x="3884" y="6656"/>
                    </a:lnTo>
                    <a:lnTo>
                      <a:pt x="3859" y="6673"/>
                    </a:lnTo>
                    <a:lnTo>
                      <a:pt x="3834" y="6690"/>
                    </a:lnTo>
                    <a:lnTo>
                      <a:pt x="3808" y="6705"/>
                    </a:lnTo>
                    <a:lnTo>
                      <a:pt x="3781" y="6718"/>
                    </a:lnTo>
                    <a:lnTo>
                      <a:pt x="3753" y="6731"/>
                    </a:lnTo>
                    <a:lnTo>
                      <a:pt x="3725" y="6742"/>
                    </a:lnTo>
                    <a:lnTo>
                      <a:pt x="3695" y="6752"/>
                    </a:lnTo>
                    <a:lnTo>
                      <a:pt x="3666" y="6760"/>
                    </a:lnTo>
                    <a:lnTo>
                      <a:pt x="3636" y="6767"/>
                    </a:lnTo>
                    <a:lnTo>
                      <a:pt x="3605" y="6773"/>
                    </a:lnTo>
                    <a:lnTo>
                      <a:pt x="3574" y="6777"/>
                    </a:lnTo>
                    <a:lnTo>
                      <a:pt x="3542" y="6779"/>
                    </a:lnTo>
                    <a:lnTo>
                      <a:pt x="3510" y="6780"/>
                    </a:lnTo>
                    <a:lnTo>
                      <a:pt x="3478" y="6779"/>
                    </a:lnTo>
                    <a:lnTo>
                      <a:pt x="3447" y="6777"/>
                    </a:lnTo>
                    <a:lnTo>
                      <a:pt x="3416" y="6773"/>
                    </a:lnTo>
                    <a:lnTo>
                      <a:pt x="3385" y="6767"/>
                    </a:lnTo>
                    <a:lnTo>
                      <a:pt x="3355" y="6760"/>
                    </a:lnTo>
                    <a:lnTo>
                      <a:pt x="3325" y="6752"/>
                    </a:lnTo>
                    <a:lnTo>
                      <a:pt x="3296" y="6742"/>
                    </a:lnTo>
                    <a:lnTo>
                      <a:pt x="3268" y="6731"/>
                    </a:lnTo>
                    <a:lnTo>
                      <a:pt x="3240" y="6718"/>
                    </a:lnTo>
                    <a:lnTo>
                      <a:pt x="3214" y="6705"/>
                    </a:lnTo>
                    <a:lnTo>
                      <a:pt x="3188" y="6690"/>
                    </a:lnTo>
                    <a:lnTo>
                      <a:pt x="3162" y="6673"/>
                    </a:lnTo>
                    <a:lnTo>
                      <a:pt x="3138" y="6656"/>
                    </a:lnTo>
                    <a:lnTo>
                      <a:pt x="3114" y="6638"/>
                    </a:lnTo>
                    <a:lnTo>
                      <a:pt x="3092" y="6618"/>
                    </a:lnTo>
                    <a:lnTo>
                      <a:pt x="3070" y="6597"/>
                    </a:lnTo>
                    <a:lnTo>
                      <a:pt x="3050" y="6576"/>
                    </a:lnTo>
                    <a:lnTo>
                      <a:pt x="3030" y="6553"/>
                    </a:lnTo>
                    <a:lnTo>
                      <a:pt x="3012" y="6530"/>
                    </a:lnTo>
                    <a:lnTo>
                      <a:pt x="2994" y="6505"/>
                    </a:lnTo>
                    <a:lnTo>
                      <a:pt x="2978" y="6480"/>
                    </a:lnTo>
                    <a:lnTo>
                      <a:pt x="2963" y="6454"/>
                    </a:lnTo>
                    <a:lnTo>
                      <a:pt x="2949" y="6427"/>
                    </a:lnTo>
                    <a:lnTo>
                      <a:pt x="2937" y="6400"/>
                    </a:lnTo>
                    <a:lnTo>
                      <a:pt x="2926" y="6371"/>
                    </a:lnTo>
                    <a:lnTo>
                      <a:pt x="2916" y="6342"/>
                    </a:lnTo>
                    <a:lnTo>
                      <a:pt x="2908" y="6313"/>
                    </a:lnTo>
                    <a:lnTo>
                      <a:pt x="2901" y="6282"/>
                    </a:lnTo>
                    <a:lnTo>
                      <a:pt x="2895" y="6251"/>
                    </a:lnTo>
                    <a:lnTo>
                      <a:pt x="2891" y="6220"/>
                    </a:lnTo>
                    <a:lnTo>
                      <a:pt x="2889" y="6188"/>
                    </a:lnTo>
                    <a:lnTo>
                      <a:pt x="2888" y="6156"/>
                    </a:lnTo>
                    <a:lnTo>
                      <a:pt x="2889" y="6124"/>
                    </a:lnTo>
                    <a:lnTo>
                      <a:pt x="2891" y="6093"/>
                    </a:lnTo>
                    <a:lnTo>
                      <a:pt x="2895" y="6062"/>
                    </a:lnTo>
                    <a:lnTo>
                      <a:pt x="2901" y="6031"/>
                    </a:lnTo>
                    <a:lnTo>
                      <a:pt x="2908" y="6001"/>
                    </a:lnTo>
                    <a:lnTo>
                      <a:pt x="2916" y="5971"/>
                    </a:lnTo>
                    <a:lnTo>
                      <a:pt x="2926" y="5942"/>
                    </a:lnTo>
                    <a:lnTo>
                      <a:pt x="2937" y="5914"/>
                    </a:lnTo>
                    <a:lnTo>
                      <a:pt x="2949" y="5887"/>
                    </a:lnTo>
                    <a:lnTo>
                      <a:pt x="2963" y="5860"/>
                    </a:lnTo>
                    <a:lnTo>
                      <a:pt x="2978" y="5834"/>
                    </a:lnTo>
                    <a:lnTo>
                      <a:pt x="2994" y="5808"/>
                    </a:lnTo>
                    <a:lnTo>
                      <a:pt x="3012" y="5784"/>
                    </a:lnTo>
                    <a:lnTo>
                      <a:pt x="3030" y="5761"/>
                    </a:lnTo>
                    <a:lnTo>
                      <a:pt x="3050" y="5738"/>
                    </a:lnTo>
                    <a:lnTo>
                      <a:pt x="3070" y="5716"/>
                    </a:lnTo>
                    <a:lnTo>
                      <a:pt x="3092" y="5696"/>
                    </a:lnTo>
                    <a:lnTo>
                      <a:pt x="3114" y="5676"/>
                    </a:lnTo>
                    <a:lnTo>
                      <a:pt x="3138" y="5658"/>
                    </a:lnTo>
                    <a:lnTo>
                      <a:pt x="3162" y="5640"/>
                    </a:lnTo>
                    <a:lnTo>
                      <a:pt x="3188" y="5624"/>
                    </a:lnTo>
                    <a:lnTo>
                      <a:pt x="3214" y="5609"/>
                    </a:lnTo>
                    <a:lnTo>
                      <a:pt x="3240" y="5595"/>
                    </a:lnTo>
                    <a:lnTo>
                      <a:pt x="3268" y="5583"/>
                    </a:lnTo>
                    <a:lnTo>
                      <a:pt x="3296" y="5572"/>
                    </a:lnTo>
                    <a:lnTo>
                      <a:pt x="3325" y="5562"/>
                    </a:lnTo>
                    <a:lnTo>
                      <a:pt x="3355" y="5554"/>
                    </a:lnTo>
                    <a:lnTo>
                      <a:pt x="3385" y="5547"/>
                    </a:lnTo>
                    <a:lnTo>
                      <a:pt x="3416" y="5541"/>
                    </a:lnTo>
                    <a:lnTo>
                      <a:pt x="3447" y="5537"/>
                    </a:lnTo>
                    <a:lnTo>
                      <a:pt x="3478" y="5535"/>
                    </a:lnTo>
                    <a:lnTo>
                      <a:pt x="3510" y="5534"/>
                    </a:lnTo>
                    <a:close/>
                    <a:moveTo>
                      <a:pt x="3510" y="2108"/>
                    </a:moveTo>
                    <a:lnTo>
                      <a:pt x="3542" y="2109"/>
                    </a:lnTo>
                    <a:lnTo>
                      <a:pt x="3574" y="2111"/>
                    </a:lnTo>
                    <a:lnTo>
                      <a:pt x="3605" y="2115"/>
                    </a:lnTo>
                    <a:lnTo>
                      <a:pt x="3636" y="2121"/>
                    </a:lnTo>
                    <a:lnTo>
                      <a:pt x="3666" y="2128"/>
                    </a:lnTo>
                    <a:lnTo>
                      <a:pt x="3695" y="2136"/>
                    </a:lnTo>
                    <a:lnTo>
                      <a:pt x="3725" y="2146"/>
                    </a:lnTo>
                    <a:lnTo>
                      <a:pt x="3753" y="2157"/>
                    </a:lnTo>
                    <a:lnTo>
                      <a:pt x="3781" y="2169"/>
                    </a:lnTo>
                    <a:lnTo>
                      <a:pt x="3808" y="2183"/>
                    </a:lnTo>
                    <a:lnTo>
                      <a:pt x="3834" y="2198"/>
                    </a:lnTo>
                    <a:lnTo>
                      <a:pt x="3859" y="2214"/>
                    </a:lnTo>
                    <a:lnTo>
                      <a:pt x="3884" y="2232"/>
                    </a:lnTo>
                    <a:lnTo>
                      <a:pt x="3907" y="2250"/>
                    </a:lnTo>
                    <a:lnTo>
                      <a:pt x="3930" y="2270"/>
                    </a:lnTo>
                    <a:lnTo>
                      <a:pt x="3951" y="2290"/>
                    </a:lnTo>
                    <a:lnTo>
                      <a:pt x="3972" y="2312"/>
                    </a:lnTo>
                    <a:lnTo>
                      <a:pt x="3991" y="2334"/>
                    </a:lnTo>
                    <a:lnTo>
                      <a:pt x="4010" y="2358"/>
                    </a:lnTo>
                    <a:lnTo>
                      <a:pt x="4027" y="2382"/>
                    </a:lnTo>
                    <a:lnTo>
                      <a:pt x="4044" y="2408"/>
                    </a:lnTo>
                    <a:lnTo>
                      <a:pt x="4058" y="2434"/>
                    </a:lnTo>
                    <a:lnTo>
                      <a:pt x="4072" y="2461"/>
                    </a:lnTo>
                    <a:lnTo>
                      <a:pt x="4085" y="2488"/>
                    </a:lnTo>
                    <a:lnTo>
                      <a:pt x="4096" y="2516"/>
                    </a:lnTo>
                    <a:lnTo>
                      <a:pt x="4106" y="2545"/>
                    </a:lnTo>
                    <a:lnTo>
                      <a:pt x="4114" y="2575"/>
                    </a:lnTo>
                    <a:lnTo>
                      <a:pt x="4121" y="2605"/>
                    </a:lnTo>
                    <a:lnTo>
                      <a:pt x="4126" y="2636"/>
                    </a:lnTo>
                    <a:lnTo>
                      <a:pt x="4130" y="2667"/>
                    </a:lnTo>
                    <a:lnTo>
                      <a:pt x="4133" y="2698"/>
                    </a:lnTo>
                    <a:lnTo>
                      <a:pt x="4134" y="2730"/>
                    </a:lnTo>
                    <a:lnTo>
                      <a:pt x="4133" y="2762"/>
                    </a:lnTo>
                    <a:lnTo>
                      <a:pt x="4130" y="2794"/>
                    </a:lnTo>
                    <a:lnTo>
                      <a:pt x="4126" y="2825"/>
                    </a:lnTo>
                    <a:lnTo>
                      <a:pt x="4121" y="2856"/>
                    </a:lnTo>
                    <a:lnTo>
                      <a:pt x="4114" y="2887"/>
                    </a:lnTo>
                    <a:lnTo>
                      <a:pt x="4106" y="2916"/>
                    </a:lnTo>
                    <a:lnTo>
                      <a:pt x="4096" y="2945"/>
                    </a:lnTo>
                    <a:lnTo>
                      <a:pt x="4085" y="2974"/>
                    </a:lnTo>
                    <a:lnTo>
                      <a:pt x="4072" y="3001"/>
                    </a:lnTo>
                    <a:lnTo>
                      <a:pt x="4058" y="3028"/>
                    </a:lnTo>
                    <a:lnTo>
                      <a:pt x="4044" y="3054"/>
                    </a:lnTo>
                    <a:lnTo>
                      <a:pt x="4027" y="3079"/>
                    </a:lnTo>
                    <a:lnTo>
                      <a:pt x="4010" y="3104"/>
                    </a:lnTo>
                    <a:lnTo>
                      <a:pt x="3991" y="3127"/>
                    </a:lnTo>
                    <a:lnTo>
                      <a:pt x="3972" y="3150"/>
                    </a:lnTo>
                    <a:lnTo>
                      <a:pt x="3951" y="3171"/>
                    </a:lnTo>
                    <a:lnTo>
                      <a:pt x="3930" y="3192"/>
                    </a:lnTo>
                    <a:lnTo>
                      <a:pt x="3907" y="3212"/>
                    </a:lnTo>
                    <a:lnTo>
                      <a:pt x="3884" y="3230"/>
                    </a:lnTo>
                    <a:lnTo>
                      <a:pt x="3859" y="3247"/>
                    </a:lnTo>
                    <a:lnTo>
                      <a:pt x="3834" y="3264"/>
                    </a:lnTo>
                    <a:lnTo>
                      <a:pt x="3808" y="3279"/>
                    </a:lnTo>
                    <a:lnTo>
                      <a:pt x="3781" y="3292"/>
                    </a:lnTo>
                    <a:lnTo>
                      <a:pt x="3753" y="3305"/>
                    </a:lnTo>
                    <a:lnTo>
                      <a:pt x="3725" y="3316"/>
                    </a:lnTo>
                    <a:lnTo>
                      <a:pt x="3695" y="3326"/>
                    </a:lnTo>
                    <a:lnTo>
                      <a:pt x="3666" y="3334"/>
                    </a:lnTo>
                    <a:lnTo>
                      <a:pt x="3636" y="3341"/>
                    </a:lnTo>
                    <a:lnTo>
                      <a:pt x="3605" y="3347"/>
                    </a:lnTo>
                    <a:lnTo>
                      <a:pt x="3574" y="3351"/>
                    </a:lnTo>
                    <a:lnTo>
                      <a:pt x="3542" y="3353"/>
                    </a:lnTo>
                    <a:lnTo>
                      <a:pt x="3510" y="3354"/>
                    </a:lnTo>
                    <a:lnTo>
                      <a:pt x="3478" y="3353"/>
                    </a:lnTo>
                    <a:lnTo>
                      <a:pt x="3447" y="3351"/>
                    </a:lnTo>
                    <a:lnTo>
                      <a:pt x="3416" y="3347"/>
                    </a:lnTo>
                    <a:lnTo>
                      <a:pt x="3385" y="3341"/>
                    </a:lnTo>
                    <a:lnTo>
                      <a:pt x="3355" y="3334"/>
                    </a:lnTo>
                    <a:lnTo>
                      <a:pt x="3325" y="3326"/>
                    </a:lnTo>
                    <a:lnTo>
                      <a:pt x="3296" y="3316"/>
                    </a:lnTo>
                    <a:lnTo>
                      <a:pt x="3268" y="3305"/>
                    </a:lnTo>
                    <a:lnTo>
                      <a:pt x="3240" y="3292"/>
                    </a:lnTo>
                    <a:lnTo>
                      <a:pt x="3214" y="3279"/>
                    </a:lnTo>
                    <a:lnTo>
                      <a:pt x="3188" y="3264"/>
                    </a:lnTo>
                    <a:lnTo>
                      <a:pt x="3162" y="3247"/>
                    </a:lnTo>
                    <a:lnTo>
                      <a:pt x="3138" y="3230"/>
                    </a:lnTo>
                    <a:lnTo>
                      <a:pt x="3114" y="3212"/>
                    </a:lnTo>
                    <a:lnTo>
                      <a:pt x="3092" y="3192"/>
                    </a:lnTo>
                    <a:lnTo>
                      <a:pt x="3070" y="3171"/>
                    </a:lnTo>
                    <a:lnTo>
                      <a:pt x="3050" y="3150"/>
                    </a:lnTo>
                    <a:lnTo>
                      <a:pt x="3030" y="3127"/>
                    </a:lnTo>
                    <a:lnTo>
                      <a:pt x="3012" y="3104"/>
                    </a:lnTo>
                    <a:lnTo>
                      <a:pt x="2994" y="3079"/>
                    </a:lnTo>
                    <a:lnTo>
                      <a:pt x="2978" y="3054"/>
                    </a:lnTo>
                    <a:lnTo>
                      <a:pt x="2963" y="3028"/>
                    </a:lnTo>
                    <a:lnTo>
                      <a:pt x="2949" y="3001"/>
                    </a:lnTo>
                    <a:lnTo>
                      <a:pt x="2937" y="2974"/>
                    </a:lnTo>
                    <a:lnTo>
                      <a:pt x="2926" y="2945"/>
                    </a:lnTo>
                    <a:lnTo>
                      <a:pt x="2916" y="2916"/>
                    </a:lnTo>
                    <a:lnTo>
                      <a:pt x="2908" y="2887"/>
                    </a:lnTo>
                    <a:lnTo>
                      <a:pt x="2901" y="2856"/>
                    </a:lnTo>
                    <a:lnTo>
                      <a:pt x="2895" y="2825"/>
                    </a:lnTo>
                    <a:lnTo>
                      <a:pt x="2891" y="2794"/>
                    </a:lnTo>
                    <a:lnTo>
                      <a:pt x="2889" y="2762"/>
                    </a:lnTo>
                    <a:lnTo>
                      <a:pt x="2888" y="2730"/>
                    </a:lnTo>
                    <a:lnTo>
                      <a:pt x="2889" y="2698"/>
                    </a:lnTo>
                    <a:lnTo>
                      <a:pt x="2891" y="2667"/>
                    </a:lnTo>
                    <a:lnTo>
                      <a:pt x="2895" y="2636"/>
                    </a:lnTo>
                    <a:lnTo>
                      <a:pt x="2901" y="2605"/>
                    </a:lnTo>
                    <a:lnTo>
                      <a:pt x="2908" y="2575"/>
                    </a:lnTo>
                    <a:lnTo>
                      <a:pt x="2916" y="2545"/>
                    </a:lnTo>
                    <a:lnTo>
                      <a:pt x="2926" y="2516"/>
                    </a:lnTo>
                    <a:lnTo>
                      <a:pt x="2937" y="2488"/>
                    </a:lnTo>
                    <a:lnTo>
                      <a:pt x="2949" y="2461"/>
                    </a:lnTo>
                    <a:lnTo>
                      <a:pt x="2963" y="2434"/>
                    </a:lnTo>
                    <a:lnTo>
                      <a:pt x="2978" y="2408"/>
                    </a:lnTo>
                    <a:lnTo>
                      <a:pt x="2994" y="2382"/>
                    </a:lnTo>
                    <a:lnTo>
                      <a:pt x="3012" y="2358"/>
                    </a:lnTo>
                    <a:lnTo>
                      <a:pt x="3030" y="2334"/>
                    </a:lnTo>
                    <a:lnTo>
                      <a:pt x="3050" y="2312"/>
                    </a:lnTo>
                    <a:lnTo>
                      <a:pt x="3070" y="2290"/>
                    </a:lnTo>
                    <a:lnTo>
                      <a:pt x="3092" y="2270"/>
                    </a:lnTo>
                    <a:lnTo>
                      <a:pt x="3114" y="2250"/>
                    </a:lnTo>
                    <a:lnTo>
                      <a:pt x="3138" y="2232"/>
                    </a:lnTo>
                    <a:lnTo>
                      <a:pt x="3162" y="2214"/>
                    </a:lnTo>
                    <a:lnTo>
                      <a:pt x="3188" y="2198"/>
                    </a:lnTo>
                    <a:lnTo>
                      <a:pt x="3214" y="2183"/>
                    </a:lnTo>
                    <a:lnTo>
                      <a:pt x="3240" y="2169"/>
                    </a:lnTo>
                    <a:lnTo>
                      <a:pt x="3268" y="2157"/>
                    </a:lnTo>
                    <a:lnTo>
                      <a:pt x="3296" y="2146"/>
                    </a:lnTo>
                    <a:lnTo>
                      <a:pt x="3325" y="2136"/>
                    </a:lnTo>
                    <a:lnTo>
                      <a:pt x="3355" y="2128"/>
                    </a:lnTo>
                    <a:lnTo>
                      <a:pt x="3385" y="2121"/>
                    </a:lnTo>
                    <a:lnTo>
                      <a:pt x="3416" y="2115"/>
                    </a:lnTo>
                    <a:lnTo>
                      <a:pt x="3447" y="2111"/>
                    </a:lnTo>
                    <a:lnTo>
                      <a:pt x="3478" y="2109"/>
                    </a:lnTo>
                    <a:lnTo>
                      <a:pt x="3510" y="2108"/>
                    </a:lnTo>
                    <a:close/>
                  </a:path>
                </a:pathLst>
              </a:custGeom>
              <a:no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51" name="Flowchart: Connector 50">
                <a:extLst>
                  <a:ext uri="{FF2B5EF4-FFF2-40B4-BE49-F238E27FC236}">
                    <a16:creationId xmlns:a16="http://schemas.microsoft.com/office/drawing/2014/main" id="{3D2FBBD3-75C8-408C-8BD3-1A5054BF863B}"/>
                  </a:ext>
                </a:extLst>
              </p:cNvPr>
              <p:cNvSpPr>
                <a:spLocks noChangeAspect="1"/>
              </p:cNvSpPr>
              <p:nvPr/>
            </p:nvSpPr>
            <p:spPr>
              <a:xfrm>
                <a:off x="1612588" y="3089552"/>
                <a:ext cx="36576" cy="36576"/>
              </a:xfrm>
              <a:prstGeom prst="flowChartConnector">
                <a:avLst/>
              </a:prstGeom>
              <a:solidFill>
                <a:schemeClr val="bg1"/>
              </a:solidFill>
              <a:ln w="19050">
                <a:solidFill>
                  <a:srgbClr val="EF334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34" name="Flowchart: Connector 33">
              <a:extLst>
                <a:ext uri="{FF2B5EF4-FFF2-40B4-BE49-F238E27FC236}">
                  <a16:creationId xmlns:a16="http://schemas.microsoft.com/office/drawing/2014/main" id="{6D6E484C-B2D4-4327-92BB-2526E2E6C148}"/>
                </a:ext>
              </a:extLst>
            </p:cNvPr>
            <p:cNvSpPr/>
            <p:nvPr/>
          </p:nvSpPr>
          <p:spPr>
            <a:xfrm>
              <a:off x="5308898" y="4294964"/>
              <a:ext cx="563845" cy="563845"/>
            </a:xfrm>
            <a:prstGeom prst="flowChartConnector">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35" name="Freeform 2284">
              <a:extLst>
                <a:ext uri="{FF2B5EF4-FFF2-40B4-BE49-F238E27FC236}">
                  <a16:creationId xmlns:a16="http://schemas.microsoft.com/office/drawing/2014/main" id="{003FBC0C-FDCE-4924-A67D-4CC3142BA503}"/>
                </a:ext>
              </a:extLst>
            </p:cNvPr>
            <p:cNvSpPr>
              <a:spLocks noEditPoints="1"/>
            </p:cNvSpPr>
            <p:nvPr/>
          </p:nvSpPr>
          <p:spPr bwMode="auto">
            <a:xfrm>
              <a:off x="5434711" y="4395244"/>
              <a:ext cx="78546" cy="76583"/>
            </a:xfrm>
            <a:custGeom>
              <a:avLst/>
              <a:gdLst>
                <a:gd name="T0" fmla="*/ 8 w 15"/>
                <a:gd name="T1" fmla="*/ 14 h 15"/>
                <a:gd name="T2" fmla="*/ 8 w 15"/>
                <a:gd name="T3" fmla="*/ 14 h 15"/>
                <a:gd name="T4" fmla="*/ 8 w 15"/>
                <a:gd name="T5" fmla="*/ 14 h 15"/>
                <a:gd name="T6" fmla="*/ 8 w 15"/>
                <a:gd name="T7" fmla="*/ 14 h 15"/>
                <a:gd name="T8" fmla="*/ 8 w 15"/>
                <a:gd name="T9" fmla="*/ 14 h 15"/>
                <a:gd name="T10" fmla="*/ 14 w 15"/>
                <a:gd name="T11" fmla="*/ 6 h 15"/>
                <a:gd name="T12" fmla="*/ 6 w 15"/>
                <a:gd name="T13" fmla="*/ 0 h 15"/>
                <a:gd name="T14" fmla="*/ 6 w 15"/>
                <a:gd name="T15" fmla="*/ 0 h 15"/>
                <a:gd name="T16" fmla="*/ 6 w 15"/>
                <a:gd name="T17" fmla="*/ 0 h 15"/>
                <a:gd name="T18" fmla="*/ 6 w 15"/>
                <a:gd name="T19" fmla="*/ 0 h 15"/>
                <a:gd name="T20" fmla="*/ 6 w 15"/>
                <a:gd name="T21" fmla="*/ 0 h 15"/>
                <a:gd name="T22" fmla="*/ 0 w 15"/>
                <a:gd name="T23" fmla="*/ 8 h 15"/>
                <a:gd name="T24" fmla="*/ 8 w 15"/>
                <a:gd name="T25" fmla="*/ 14 h 15"/>
                <a:gd name="T26" fmla="*/ 8 w 15"/>
                <a:gd name="T27" fmla="*/ 14 h 15"/>
                <a:gd name="T28" fmla="*/ 8 w 15"/>
                <a:gd name="T29"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8" y="14"/>
                  </a:moveTo>
                  <a:cubicBezTo>
                    <a:pt x="8" y="14"/>
                    <a:pt x="8" y="14"/>
                    <a:pt x="8" y="14"/>
                  </a:cubicBezTo>
                  <a:cubicBezTo>
                    <a:pt x="8" y="14"/>
                    <a:pt x="8" y="14"/>
                    <a:pt x="8" y="14"/>
                  </a:cubicBezTo>
                  <a:cubicBezTo>
                    <a:pt x="8" y="14"/>
                    <a:pt x="8" y="14"/>
                    <a:pt x="8" y="14"/>
                  </a:cubicBezTo>
                  <a:cubicBezTo>
                    <a:pt x="8" y="14"/>
                    <a:pt x="8" y="14"/>
                    <a:pt x="8" y="14"/>
                  </a:cubicBezTo>
                  <a:cubicBezTo>
                    <a:pt x="12" y="13"/>
                    <a:pt x="15" y="10"/>
                    <a:pt x="14" y="6"/>
                  </a:cubicBezTo>
                  <a:cubicBezTo>
                    <a:pt x="13" y="2"/>
                    <a:pt x="10" y="0"/>
                    <a:pt x="6" y="0"/>
                  </a:cubicBezTo>
                  <a:cubicBezTo>
                    <a:pt x="6" y="0"/>
                    <a:pt x="6" y="0"/>
                    <a:pt x="6" y="0"/>
                  </a:cubicBezTo>
                  <a:cubicBezTo>
                    <a:pt x="6" y="0"/>
                    <a:pt x="6" y="0"/>
                    <a:pt x="6" y="0"/>
                  </a:cubicBezTo>
                  <a:cubicBezTo>
                    <a:pt x="6" y="0"/>
                    <a:pt x="6" y="0"/>
                    <a:pt x="6" y="0"/>
                  </a:cubicBezTo>
                  <a:cubicBezTo>
                    <a:pt x="6" y="0"/>
                    <a:pt x="6" y="0"/>
                    <a:pt x="6" y="0"/>
                  </a:cubicBezTo>
                  <a:cubicBezTo>
                    <a:pt x="2" y="1"/>
                    <a:pt x="0" y="4"/>
                    <a:pt x="0" y="8"/>
                  </a:cubicBezTo>
                  <a:cubicBezTo>
                    <a:pt x="1" y="12"/>
                    <a:pt x="4" y="15"/>
                    <a:pt x="8" y="14"/>
                  </a:cubicBezTo>
                  <a:close/>
                  <a:moveTo>
                    <a:pt x="8" y="14"/>
                  </a:moveTo>
                  <a:cubicBezTo>
                    <a:pt x="8" y="14"/>
                    <a:pt x="8" y="14"/>
                    <a:pt x="8" y="14"/>
                  </a:cubicBezTo>
                </a:path>
              </a:pathLst>
            </a:custGeom>
            <a:no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36" name="Freeform 2285">
              <a:extLst>
                <a:ext uri="{FF2B5EF4-FFF2-40B4-BE49-F238E27FC236}">
                  <a16:creationId xmlns:a16="http://schemas.microsoft.com/office/drawing/2014/main" id="{054A45DF-F617-4B45-A731-405A8E4D2BDF}"/>
                </a:ext>
              </a:extLst>
            </p:cNvPr>
            <p:cNvSpPr>
              <a:spLocks noEditPoints="1"/>
            </p:cNvSpPr>
            <p:nvPr/>
          </p:nvSpPr>
          <p:spPr bwMode="auto">
            <a:xfrm>
              <a:off x="5367948" y="4379541"/>
              <a:ext cx="255273" cy="394692"/>
            </a:xfrm>
            <a:custGeom>
              <a:avLst/>
              <a:gdLst>
                <a:gd name="T0" fmla="*/ 47 w 49"/>
                <a:gd name="T1" fmla="*/ 59 h 76"/>
                <a:gd name="T2" fmla="*/ 34 w 49"/>
                <a:gd name="T3" fmla="*/ 45 h 76"/>
                <a:gd name="T4" fmla="*/ 30 w 49"/>
                <a:gd name="T5" fmla="*/ 27 h 76"/>
                <a:gd name="T6" fmla="*/ 30 w 49"/>
                <a:gd name="T7" fmla="*/ 24 h 76"/>
                <a:gd name="T8" fmla="*/ 38 w 49"/>
                <a:gd name="T9" fmla="*/ 5 h 76"/>
                <a:gd name="T10" fmla="*/ 37 w 49"/>
                <a:gd name="T11" fmla="*/ 1 h 76"/>
                <a:gd name="T12" fmla="*/ 33 w 49"/>
                <a:gd name="T13" fmla="*/ 1 h 76"/>
                <a:gd name="T14" fmla="*/ 26 w 49"/>
                <a:gd name="T15" fmla="*/ 19 h 76"/>
                <a:gd name="T16" fmla="*/ 22 w 49"/>
                <a:gd name="T17" fmla="*/ 19 h 76"/>
                <a:gd name="T18" fmla="*/ 22 w 49"/>
                <a:gd name="T19" fmla="*/ 19 h 76"/>
                <a:gd name="T20" fmla="*/ 21 w 49"/>
                <a:gd name="T21" fmla="*/ 19 h 76"/>
                <a:gd name="T22" fmla="*/ 18 w 49"/>
                <a:gd name="T23" fmla="*/ 20 h 76"/>
                <a:gd name="T24" fmla="*/ 5 w 49"/>
                <a:gd name="T25" fmla="*/ 6 h 76"/>
                <a:gd name="T26" fmla="*/ 1 w 49"/>
                <a:gd name="T27" fmla="*/ 7 h 76"/>
                <a:gd name="T28" fmla="*/ 2 w 49"/>
                <a:gd name="T29" fmla="*/ 11 h 76"/>
                <a:gd name="T30" fmla="*/ 15 w 49"/>
                <a:gd name="T31" fmla="*/ 27 h 76"/>
                <a:gd name="T32" fmla="*/ 16 w 49"/>
                <a:gd name="T33" fmla="*/ 29 h 76"/>
                <a:gd name="T34" fmla="*/ 19 w 49"/>
                <a:gd name="T35" fmla="*/ 46 h 76"/>
                <a:gd name="T36" fmla="*/ 21 w 49"/>
                <a:gd name="T37" fmla="*/ 73 h 76"/>
                <a:gd name="T38" fmla="*/ 24 w 49"/>
                <a:gd name="T39" fmla="*/ 76 h 76"/>
                <a:gd name="T40" fmla="*/ 24 w 49"/>
                <a:gd name="T41" fmla="*/ 76 h 76"/>
                <a:gd name="T42" fmla="*/ 27 w 49"/>
                <a:gd name="T43" fmla="*/ 73 h 76"/>
                <a:gd name="T44" fmla="*/ 26 w 49"/>
                <a:gd name="T45" fmla="*/ 48 h 76"/>
                <a:gd name="T46" fmla="*/ 27 w 49"/>
                <a:gd name="T47" fmla="*/ 48 h 76"/>
                <a:gd name="T48" fmla="*/ 42 w 49"/>
                <a:gd name="T49" fmla="*/ 64 h 76"/>
                <a:gd name="T50" fmla="*/ 47 w 49"/>
                <a:gd name="T51" fmla="*/ 64 h 76"/>
                <a:gd name="T52" fmla="*/ 47 w 49"/>
                <a:gd name="T53" fmla="*/ 59 h 76"/>
                <a:gd name="T54" fmla="*/ 47 w 49"/>
                <a:gd name="T55" fmla="*/ 59 h 76"/>
                <a:gd name="T56" fmla="*/ 47 w 49"/>
                <a:gd name="T57" fmla="*/ 5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76">
                  <a:moveTo>
                    <a:pt x="47" y="59"/>
                  </a:moveTo>
                  <a:cubicBezTo>
                    <a:pt x="34" y="45"/>
                    <a:pt x="34" y="45"/>
                    <a:pt x="34" y="45"/>
                  </a:cubicBezTo>
                  <a:cubicBezTo>
                    <a:pt x="33" y="44"/>
                    <a:pt x="30" y="28"/>
                    <a:pt x="30" y="27"/>
                  </a:cubicBezTo>
                  <a:cubicBezTo>
                    <a:pt x="30" y="26"/>
                    <a:pt x="30" y="24"/>
                    <a:pt x="30" y="24"/>
                  </a:cubicBezTo>
                  <a:cubicBezTo>
                    <a:pt x="30" y="24"/>
                    <a:pt x="37" y="7"/>
                    <a:pt x="38" y="5"/>
                  </a:cubicBezTo>
                  <a:cubicBezTo>
                    <a:pt x="38" y="3"/>
                    <a:pt x="38" y="2"/>
                    <a:pt x="37" y="1"/>
                  </a:cubicBezTo>
                  <a:cubicBezTo>
                    <a:pt x="36" y="0"/>
                    <a:pt x="33" y="0"/>
                    <a:pt x="33" y="1"/>
                  </a:cubicBezTo>
                  <a:cubicBezTo>
                    <a:pt x="26" y="19"/>
                    <a:pt x="26" y="19"/>
                    <a:pt x="26" y="19"/>
                  </a:cubicBezTo>
                  <a:cubicBezTo>
                    <a:pt x="26" y="19"/>
                    <a:pt x="24" y="18"/>
                    <a:pt x="22" y="19"/>
                  </a:cubicBezTo>
                  <a:cubicBezTo>
                    <a:pt x="22" y="19"/>
                    <a:pt x="22" y="19"/>
                    <a:pt x="22" y="19"/>
                  </a:cubicBezTo>
                  <a:cubicBezTo>
                    <a:pt x="21" y="19"/>
                    <a:pt x="21" y="19"/>
                    <a:pt x="21" y="19"/>
                  </a:cubicBezTo>
                  <a:cubicBezTo>
                    <a:pt x="19" y="19"/>
                    <a:pt x="18" y="20"/>
                    <a:pt x="18" y="20"/>
                  </a:cubicBezTo>
                  <a:cubicBezTo>
                    <a:pt x="5" y="6"/>
                    <a:pt x="5" y="6"/>
                    <a:pt x="5" y="6"/>
                  </a:cubicBezTo>
                  <a:cubicBezTo>
                    <a:pt x="4" y="4"/>
                    <a:pt x="2" y="5"/>
                    <a:pt x="1" y="7"/>
                  </a:cubicBezTo>
                  <a:cubicBezTo>
                    <a:pt x="0" y="8"/>
                    <a:pt x="1" y="9"/>
                    <a:pt x="2" y="11"/>
                  </a:cubicBezTo>
                  <a:cubicBezTo>
                    <a:pt x="3" y="12"/>
                    <a:pt x="15" y="27"/>
                    <a:pt x="15" y="27"/>
                  </a:cubicBezTo>
                  <a:cubicBezTo>
                    <a:pt x="15" y="27"/>
                    <a:pt x="16" y="28"/>
                    <a:pt x="16" y="29"/>
                  </a:cubicBezTo>
                  <a:cubicBezTo>
                    <a:pt x="16" y="30"/>
                    <a:pt x="16" y="30"/>
                    <a:pt x="19" y="46"/>
                  </a:cubicBezTo>
                  <a:cubicBezTo>
                    <a:pt x="21" y="73"/>
                    <a:pt x="21" y="73"/>
                    <a:pt x="21" y="73"/>
                  </a:cubicBezTo>
                  <a:cubicBezTo>
                    <a:pt x="21" y="75"/>
                    <a:pt x="22" y="76"/>
                    <a:pt x="24" y="76"/>
                  </a:cubicBezTo>
                  <a:cubicBezTo>
                    <a:pt x="24" y="76"/>
                    <a:pt x="24" y="76"/>
                    <a:pt x="24" y="76"/>
                  </a:cubicBezTo>
                  <a:cubicBezTo>
                    <a:pt x="26" y="76"/>
                    <a:pt x="27" y="74"/>
                    <a:pt x="27" y="73"/>
                  </a:cubicBezTo>
                  <a:cubicBezTo>
                    <a:pt x="27" y="73"/>
                    <a:pt x="26" y="49"/>
                    <a:pt x="26" y="48"/>
                  </a:cubicBezTo>
                  <a:cubicBezTo>
                    <a:pt x="26" y="47"/>
                    <a:pt x="26" y="47"/>
                    <a:pt x="27" y="48"/>
                  </a:cubicBezTo>
                  <a:cubicBezTo>
                    <a:pt x="28" y="48"/>
                    <a:pt x="42" y="64"/>
                    <a:pt x="42" y="64"/>
                  </a:cubicBezTo>
                  <a:cubicBezTo>
                    <a:pt x="44" y="65"/>
                    <a:pt x="46" y="65"/>
                    <a:pt x="47" y="64"/>
                  </a:cubicBezTo>
                  <a:cubicBezTo>
                    <a:pt x="48" y="62"/>
                    <a:pt x="49" y="60"/>
                    <a:pt x="47" y="59"/>
                  </a:cubicBezTo>
                  <a:close/>
                  <a:moveTo>
                    <a:pt x="47" y="59"/>
                  </a:moveTo>
                  <a:cubicBezTo>
                    <a:pt x="47" y="59"/>
                    <a:pt x="47" y="59"/>
                    <a:pt x="47" y="59"/>
                  </a:cubicBezTo>
                </a:path>
              </a:pathLst>
            </a:custGeom>
            <a:no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37" name="Freeform 2286">
              <a:extLst>
                <a:ext uri="{FF2B5EF4-FFF2-40B4-BE49-F238E27FC236}">
                  <a16:creationId xmlns:a16="http://schemas.microsoft.com/office/drawing/2014/main" id="{5F22F15A-DBE6-4602-850E-3C10A3B44341}"/>
                </a:ext>
              </a:extLst>
            </p:cNvPr>
            <p:cNvSpPr>
              <a:spLocks noEditPoints="1"/>
            </p:cNvSpPr>
            <p:nvPr/>
          </p:nvSpPr>
          <p:spPr bwMode="auto">
            <a:xfrm>
              <a:off x="5668386" y="4442378"/>
              <a:ext cx="68727" cy="66763"/>
            </a:xfrm>
            <a:custGeom>
              <a:avLst/>
              <a:gdLst>
                <a:gd name="T0" fmla="*/ 5 w 13"/>
                <a:gd name="T1" fmla="*/ 12 h 13"/>
                <a:gd name="T2" fmla="*/ 5 w 13"/>
                <a:gd name="T3" fmla="*/ 12 h 13"/>
                <a:gd name="T4" fmla="*/ 5 w 13"/>
                <a:gd name="T5" fmla="*/ 12 h 13"/>
                <a:gd name="T6" fmla="*/ 5 w 13"/>
                <a:gd name="T7" fmla="*/ 12 h 13"/>
                <a:gd name="T8" fmla="*/ 5 w 13"/>
                <a:gd name="T9" fmla="*/ 12 h 13"/>
                <a:gd name="T10" fmla="*/ 5 w 13"/>
                <a:gd name="T11" fmla="*/ 12 h 13"/>
                <a:gd name="T12" fmla="*/ 5 w 13"/>
                <a:gd name="T13" fmla="*/ 12 h 13"/>
                <a:gd name="T14" fmla="*/ 5 w 13"/>
                <a:gd name="T15" fmla="*/ 12 h 13"/>
                <a:gd name="T16" fmla="*/ 5 w 13"/>
                <a:gd name="T17" fmla="*/ 12 h 13"/>
                <a:gd name="T18" fmla="*/ 5 w 13"/>
                <a:gd name="T19" fmla="*/ 12 h 13"/>
                <a:gd name="T20" fmla="*/ 5 w 13"/>
                <a:gd name="T21" fmla="*/ 12 h 13"/>
                <a:gd name="T22" fmla="*/ 12 w 13"/>
                <a:gd name="T23" fmla="*/ 8 h 13"/>
                <a:gd name="T24" fmla="*/ 8 w 13"/>
                <a:gd name="T25" fmla="*/ 1 h 13"/>
                <a:gd name="T26" fmla="*/ 8 w 13"/>
                <a:gd name="T27" fmla="*/ 1 h 13"/>
                <a:gd name="T28" fmla="*/ 8 w 13"/>
                <a:gd name="T29" fmla="*/ 1 h 13"/>
                <a:gd name="T30" fmla="*/ 8 w 13"/>
                <a:gd name="T31" fmla="*/ 1 h 13"/>
                <a:gd name="T32" fmla="*/ 8 w 13"/>
                <a:gd name="T33" fmla="*/ 1 h 13"/>
                <a:gd name="T34" fmla="*/ 8 w 13"/>
                <a:gd name="T35" fmla="*/ 1 h 13"/>
                <a:gd name="T36" fmla="*/ 8 w 13"/>
                <a:gd name="T37" fmla="*/ 1 h 13"/>
                <a:gd name="T38" fmla="*/ 8 w 13"/>
                <a:gd name="T39" fmla="*/ 1 h 13"/>
                <a:gd name="T40" fmla="*/ 8 w 13"/>
                <a:gd name="T41" fmla="*/ 1 h 13"/>
                <a:gd name="T42" fmla="*/ 8 w 13"/>
                <a:gd name="T43" fmla="*/ 1 h 13"/>
                <a:gd name="T44" fmla="*/ 8 w 13"/>
                <a:gd name="T45" fmla="*/ 1 h 13"/>
                <a:gd name="T46" fmla="*/ 1 w 13"/>
                <a:gd name="T47" fmla="*/ 5 h 13"/>
                <a:gd name="T48" fmla="*/ 5 w 13"/>
                <a:gd name="T49" fmla="*/ 12 h 13"/>
                <a:gd name="T50" fmla="*/ 5 w 13"/>
                <a:gd name="T51" fmla="*/ 12 h 13"/>
                <a:gd name="T52" fmla="*/ 5 w 13"/>
                <a:gd name="T5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3">
                  <a:moveTo>
                    <a:pt x="5" y="12"/>
                  </a:move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8" y="13"/>
                    <a:pt x="11" y="11"/>
                    <a:pt x="12" y="8"/>
                  </a:cubicBezTo>
                  <a:cubicBezTo>
                    <a:pt x="13" y="5"/>
                    <a:pt x="11" y="2"/>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5" y="0"/>
                    <a:pt x="2" y="2"/>
                    <a:pt x="1" y="5"/>
                  </a:cubicBezTo>
                  <a:cubicBezTo>
                    <a:pt x="0" y="8"/>
                    <a:pt x="2" y="11"/>
                    <a:pt x="5" y="12"/>
                  </a:cubicBezTo>
                  <a:close/>
                  <a:moveTo>
                    <a:pt x="5" y="12"/>
                  </a:moveTo>
                  <a:cubicBezTo>
                    <a:pt x="5" y="12"/>
                    <a:pt x="5" y="12"/>
                    <a:pt x="5" y="12"/>
                  </a:cubicBezTo>
                </a:path>
              </a:pathLst>
            </a:custGeom>
            <a:no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38" name="Freeform 2287">
              <a:extLst>
                <a:ext uri="{FF2B5EF4-FFF2-40B4-BE49-F238E27FC236}">
                  <a16:creationId xmlns:a16="http://schemas.microsoft.com/office/drawing/2014/main" id="{011AAC95-91AD-4467-AB5A-AD2752DDB92B}"/>
                </a:ext>
              </a:extLst>
            </p:cNvPr>
            <p:cNvSpPr>
              <a:spLocks noEditPoints="1"/>
            </p:cNvSpPr>
            <p:nvPr/>
          </p:nvSpPr>
          <p:spPr bwMode="auto">
            <a:xfrm>
              <a:off x="5548602" y="4436487"/>
              <a:ext cx="265092" cy="300438"/>
            </a:xfrm>
            <a:custGeom>
              <a:avLst/>
              <a:gdLst>
                <a:gd name="T0" fmla="*/ 50 w 51"/>
                <a:gd name="T1" fmla="*/ 15 h 58"/>
                <a:gd name="T2" fmla="*/ 47 w 51"/>
                <a:gd name="T3" fmla="*/ 14 h 58"/>
                <a:gd name="T4" fmla="*/ 30 w 51"/>
                <a:gd name="T5" fmla="*/ 15 h 58"/>
                <a:gd name="T6" fmla="*/ 27 w 51"/>
                <a:gd name="T7" fmla="*/ 14 h 58"/>
                <a:gd name="T8" fmla="*/ 24 w 51"/>
                <a:gd name="T9" fmla="*/ 13 h 58"/>
                <a:gd name="T10" fmla="*/ 12 w 51"/>
                <a:gd name="T11" fmla="*/ 2 h 58"/>
                <a:gd name="T12" fmla="*/ 8 w 51"/>
                <a:gd name="T13" fmla="*/ 1 h 58"/>
                <a:gd name="T14" fmla="*/ 8 w 51"/>
                <a:gd name="T15" fmla="*/ 4 h 58"/>
                <a:gd name="T16" fmla="*/ 20 w 51"/>
                <a:gd name="T17" fmla="*/ 17 h 58"/>
                <a:gd name="T18" fmla="*/ 20 w 51"/>
                <a:gd name="T19" fmla="*/ 19 h 58"/>
                <a:gd name="T20" fmla="*/ 16 w 51"/>
                <a:gd name="T21" fmla="*/ 30 h 58"/>
                <a:gd name="T22" fmla="*/ 2 w 51"/>
                <a:gd name="T23" fmla="*/ 40 h 58"/>
                <a:gd name="T24" fmla="*/ 1 w 51"/>
                <a:gd name="T25" fmla="*/ 44 h 58"/>
                <a:gd name="T26" fmla="*/ 5 w 51"/>
                <a:gd name="T27" fmla="*/ 44 h 58"/>
                <a:gd name="T28" fmla="*/ 20 w 51"/>
                <a:gd name="T29" fmla="*/ 34 h 58"/>
                <a:gd name="T30" fmla="*/ 20 w 51"/>
                <a:gd name="T31" fmla="*/ 35 h 58"/>
                <a:gd name="T32" fmla="*/ 14 w 51"/>
                <a:gd name="T33" fmla="*/ 55 h 58"/>
                <a:gd name="T34" fmla="*/ 16 w 51"/>
                <a:gd name="T35" fmla="*/ 58 h 58"/>
                <a:gd name="T36" fmla="*/ 17 w 51"/>
                <a:gd name="T37" fmla="*/ 58 h 58"/>
                <a:gd name="T38" fmla="*/ 19 w 51"/>
                <a:gd name="T39" fmla="*/ 56 h 58"/>
                <a:gd name="T40" fmla="*/ 26 w 51"/>
                <a:gd name="T41" fmla="*/ 34 h 58"/>
                <a:gd name="T42" fmla="*/ 26 w 51"/>
                <a:gd name="T43" fmla="*/ 34 h 58"/>
                <a:gd name="T44" fmla="*/ 30 w 51"/>
                <a:gd name="T45" fmla="*/ 23 h 58"/>
                <a:gd name="T46" fmla="*/ 31 w 51"/>
                <a:gd name="T47" fmla="*/ 21 h 58"/>
                <a:gd name="T48" fmla="*/ 49 w 51"/>
                <a:gd name="T49" fmla="*/ 18 h 58"/>
                <a:gd name="T50" fmla="*/ 50 w 51"/>
                <a:gd name="T51" fmla="*/ 15 h 58"/>
                <a:gd name="T52" fmla="*/ 50 w 51"/>
                <a:gd name="T53" fmla="*/ 15 h 58"/>
                <a:gd name="T54" fmla="*/ 50 w 51"/>
                <a:gd name="T55"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58">
                  <a:moveTo>
                    <a:pt x="50" y="15"/>
                  </a:moveTo>
                  <a:cubicBezTo>
                    <a:pt x="50" y="14"/>
                    <a:pt x="49" y="13"/>
                    <a:pt x="47" y="14"/>
                  </a:cubicBezTo>
                  <a:cubicBezTo>
                    <a:pt x="30" y="15"/>
                    <a:pt x="30" y="15"/>
                    <a:pt x="30" y="15"/>
                  </a:cubicBezTo>
                  <a:cubicBezTo>
                    <a:pt x="30" y="15"/>
                    <a:pt x="29" y="14"/>
                    <a:pt x="27" y="14"/>
                  </a:cubicBezTo>
                  <a:cubicBezTo>
                    <a:pt x="25" y="13"/>
                    <a:pt x="24" y="13"/>
                    <a:pt x="24" y="13"/>
                  </a:cubicBezTo>
                  <a:cubicBezTo>
                    <a:pt x="12" y="2"/>
                    <a:pt x="12" y="2"/>
                    <a:pt x="12" y="2"/>
                  </a:cubicBezTo>
                  <a:cubicBezTo>
                    <a:pt x="11" y="0"/>
                    <a:pt x="9" y="0"/>
                    <a:pt x="8" y="1"/>
                  </a:cubicBezTo>
                  <a:cubicBezTo>
                    <a:pt x="7" y="2"/>
                    <a:pt x="7" y="3"/>
                    <a:pt x="8" y="4"/>
                  </a:cubicBezTo>
                  <a:cubicBezTo>
                    <a:pt x="9" y="5"/>
                    <a:pt x="20" y="16"/>
                    <a:pt x="20" y="17"/>
                  </a:cubicBezTo>
                  <a:cubicBezTo>
                    <a:pt x="20" y="17"/>
                    <a:pt x="20" y="18"/>
                    <a:pt x="20" y="19"/>
                  </a:cubicBezTo>
                  <a:cubicBezTo>
                    <a:pt x="20" y="20"/>
                    <a:pt x="17" y="27"/>
                    <a:pt x="16" y="30"/>
                  </a:cubicBezTo>
                  <a:cubicBezTo>
                    <a:pt x="2" y="40"/>
                    <a:pt x="2" y="40"/>
                    <a:pt x="2" y="40"/>
                  </a:cubicBezTo>
                  <a:cubicBezTo>
                    <a:pt x="0" y="41"/>
                    <a:pt x="0" y="42"/>
                    <a:pt x="1" y="44"/>
                  </a:cubicBezTo>
                  <a:cubicBezTo>
                    <a:pt x="2" y="45"/>
                    <a:pt x="3" y="45"/>
                    <a:pt x="5" y="44"/>
                  </a:cubicBezTo>
                  <a:cubicBezTo>
                    <a:pt x="5" y="44"/>
                    <a:pt x="19" y="34"/>
                    <a:pt x="20" y="34"/>
                  </a:cubicBezTo>
                  <a:cubicBezTo>
                    <a:pt x="20" y="34"/>
                    <a:pt x="21" y="34"/>
                    <a:pt x="20" y="35"/>
                  </a:cubicBezTo>
                  <a:cubicBezTo>
                    <a:pt x="20" y="35"/>
                    <a:pt x="14" y="55"/>
                    <a:pt x="14" y="55"/>
                  </a:cubicBezTo>
                  <a:cubicBezTo>
                    <a:pt x="14" y="56"/>
                    <a:pt x="14" y="58"/>
                    <a:pt x="16" y="58"/>
                  </a:cubicBezTo>
                  <a:cubicBezTo>
                    <a:pt x="16" y="58"/>
                    <a:pt x="16" y="58"/>
                    <a:pt x="17" y="58"/>
                  </a:cubicBezTo>
                  <a:cubicBezTo>
                    <a:pt x="18" y="58"/>
                    <a:pt x="19" y="57"/>
                    <a:pt x="19" y="56"/>
                  </a:cubicBezTo>
                  <a:cubicBezTo>
                    <a:pt x="26" y="34"/>
                    <a:pt x="26" y="34"/>
                    <a:pt x="26" y="34"/>
                  </a:cubicBezTo>
                  <a:cubicBezTo>
                    <a:pt x="26" y="34"/>
                    <a:pt x="26" y="34"/>
                    <a:pt x="26" y="34"/>
                  </a:cubicBezTo>
                  <a:cubicBezTo>
                    <a:pt x="30" y="22"/>
                    <a:pt x="30" y="22"/>
                    <a:pt x="30" y="23"/>
                  </a:cubicBezTo>
                  <a:cubicBezTo>
                    <a:pt x="31" y="21"/>
                    <a:pt x="31" y="21"/>
                    <a:pt x="31" y="21"/>
                  </a:cubicBezTo>
                  <a:cubicBezTo>
                    <a:pt x="32" y="21"/>
                    <a:pt x="47" y="18"/>
                    <a:pt x="49" y="18"/>
                  </a:cubicBezTo>
                  <a:cubicBezTo>
                    <a:pt x="50" y="18"/>
                    <a:pt x="51" y="16"/>
                    <a:pt x="50" y="15"/>
                  </a:cubicBezTo>
                  <a:close/>
                  <a:moveTo>
                    <a:pt x="50" y="15"/>
                  </a:moveTo>
                  <a:cubicBezTo>
                    <a:pt x="50" y="15"/>
                    <a:pt x="50" y="15"/>
                    <a:pt x="50" y="15"/>
                  </a:cubicBezTo>
                </a:path>
              </a:pathLst>
            </a:custGeom>
            <a:no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39" name="Flowchart: Connector 38">
              <a:extLst>
                <a:ext uri="{FF2B5EF4-FFF2-40B4-BE49-F238E27FC236}">
                  <a16:creationId xmlns:a16="http://schemas.microsoft.com/office/drawing/2014/main" id="{AB000E6C-F0C9-4039-BF35-4A1B8DE8F0D9}"/>
                </a:ext>
              </a:extLst>
            </p:cNvPr>
            <p:cNvSpPr>
              <a:spLocks noChangeAspect="1"/>
            </p:cNvSpPr>
            <p:nvPr/>
          </p:nvSpPr>
          <p:spPr>
            <a:xfrm>
              <a:off x="5668386" y="4586534"/>
              <a:ext cx="45108" cy="45108"/>
            </a:xfrm>
            <a:prstGeom prst="flowChartConnector">
              <a:avLst/>
            </a:prstGeom>
            <a:solidFill>
              <a:schemeClr val="accent2"/>
            </a:solidFill>
            <a:ln w="19050">
              <a:solidFill>
                <a:srgbClr val="FFDA2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nvGrpSpPr>
            <p:cNvPr id="40" name="Group 39">
              <a:extLst>
                <a:ext uri="{FF2B5EF4-FFF2-40B4-BE49-F238E27FC236}">
                  <a16:creationId xmlns:a16="http://schemas.microsoft.com/office/drawing/2014/main" id="{0AB86C3A-7347-45CD-9F1C-818DF20C006F}"/>
                </a:ext>
              </a:extLst>
            </p:cNvPr>
            <p:cNvGrpSpPr/>
            <p:nvPr/>
          </p:nvGrpSpPr>
          <p:grpSpPr>
            <a:xfrm>
              <a:off x="7061950" y="4287985"/>
              <a:ext cx="577803" cy="577803"/>
              <a:chOff x="6020822" y="1354802"/>
              <a:chExt cx="731520" cy="731520"/>
            </a:xfrm>
          </p:grpSpPr>
          <p:sp>
            <p:nvSpPr>
              <p:cNvPr id="45" name="Flowchart: Connector 44">
                <a:extLst>
                  <a:ext uri="{FF2B5EF4-FFF2-40B4-BE49-F238E27FC236}">
                    <a16:creationId xmlns:a16="http://schemas.microsoft.com/office/drawing/2014/main" id="{2BA67167-80A2-4B8F-9370-6B0F18F32021}"/>
                  </a:ext>
                </a:extLst>
              </p:cNvPr>
              <p:cNvSpPr>
                <a:spLocks noChangeAspect="1"/>
              </p:cNvSpPr>
              <p:nvPr/>
            </p:nvSpPr>
            <p:spPr>
              <a:xfrm>
                <a:off x="6020822" y="1354802"/>
                <a:ext cx="731520" cy="731520"/>
              </a:xfrm>
              <a:prstGeom prst="flowChartConnector">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46" name="Freeform 5">
                <a:extLst>
                  <a:ext uri="{FF2B5EF4-FFF2-40B4-BE49-F238E27FC236}">
                    <a16:creationId xmlns:a16="http://schemas.microsoft.com/office/drawing/2014/main" id="{A17FEF9C-AF67-4A88-9F87-D2CE6D34C824}"/>
                  </a:ext>
                </a:extLst>
              </p:cNvPr>
              <p:cNvSpPr>
                <a:spLocks noChangeAspect="1" noEditPoints="1"/>
              </p:cNvSpPr>
              <p:nvPr/>
            </p:nvSpPr>
            <p:spPr bwMode="auto">
              <a:xfrm>
                <a:off x="6152929" y="1597418"/>
                <a:ext cx="484753" cy="274320"/>
              </a:xfrm>
              <a:custGeom>
                <a:avLst/>
                <a:gdLst>
                  <a:gd name="T0" fmla="*/ 7894 w 17300"/>
                  <a:gd name="T1" fmla="*/ 3667 h 9790"/>
                  <a:gd name="T2" fmla="*/ 8996 w 17300"/>
                  <a:gd name="T3" fmla="*/ 3211 h 9790"/>
                  <a:gd name="T4" fmla="*/ 14141 w 17300"/>
                  <a:gd name="T5" fmla="*/ 5799 h 9790"/>
                  <a:gd name="T6" fmla="*/ 6077 w 17300"/>
                  <a:gd name="T7" fmla="*/ 5312 h 9790"/>
                  <a:gd name="T8" fmla="*/ 5810 w 17300"/>
                  <a:gd name="T9" fmla="*/ 6048 h 9790"/>
                  <a:gd name="T10" fmla="*/ 4906 w 17300"/>
                  <a:gd name="T11" fmla="*/ 6732 h 9790"/>
                  <a:gd name="T12" fmla="*/ 4266 w 17300"/>
                  <a:gd name="T13" fmla="*/ 6614 h 9790"/>
                  <a:gd name="T14" fmla="*/ 4149 w 17300"/>
                  <a:gd name="T15" fmla="*/ 5977 h 9790"/>
                  <a:gd name="T16" fmla="*/ 4841 w 17300"/>
                  <a:gd name="T17" fmla="*/ 5078 h 9790"/>
                  <a:gd name="T18" fmla="*/ 5567 w 17300"/>
                  <a:gd name="T19" fmla="*/ 4809 h 9790"/>
                  <a:gd name="T20" fmla="*/ 7018 w 17300"/>
                  <a:gd name="T21" fmla="*/ 6114 h 9790"/>
                  <a:gd name="T22" fmla="*/ 6923 w 17300"/>
                  <a:gd name="T23" fmla="*/ 6826 h 9790"/>
                  <a:gd name="T24" fmla="*/ 6093 w 17300"/>
                  <a:gd name="T25" fmla="*/ 7634 h 9790"/>
                  <a:gd name="T26" fmla="*/ 5393 w 17300"/>
                  <a:gd name="T27" fmla="*/ 7698 h 9790"/>
                  <a:gd name="T28" fmla="*/ 5096 w 17300"/>
                  <a:gd name="T29" fmla="*/ 7163 h 9790"/>
                  <a:gd name="T30" fmla="*/ 5434 w 17300"/>
                  <a:gd name="T31" fmla="*/ 6438 h 9790"/>
                  <a:gd name="T32" fmla="*/ 6350 w 17300"/>
                  <a:gd name="T33" fmla="*/ 5802 h 9790"/>
                  <a:gd name="T34" fmla="*/ 8899 w 17300"/>
                  <a:gd name="T35" fmla="*/ 7927 h 9790"/>
                  <a:gd name="T36" fmla="*/ 8974 w 17300"/>
                  <a:gd name="T37" fmla="*/ 8582 h 9790"/>
                  <a:gd name="T38" fmla="*/ 8258 w 17300"/>
                  <a:gd name="T39" fmla="*/ 9475 h 9790"/>
                  <a:gd name="T40" fmla="*/ 7529 w 17300"/>
                  <a:gd name="T41" fmla="*/ 9708 h 9790"/>
                  <a:gd name="T42" fmla="*/ 7076 w 17300"/>
                  <a:gd name="T43" fmla="*/ 9312 h 9790"/>
                  <a:gd name="T44" fmla="*/ 7245 w 17300"/>
                  <a:gd name="T45" fmla="*/ 8593 h 9790"/>
                  <a:gd name="T46" fmla="*/ 8110 w 17300"/>
                  <a:gd name="T47" fmla="*/ 7825 h 9790"/>
                  <a:gd name="T48" fmla="*/ 8791 w 17300"/>
                  <a:gd name="T49" fmla="*/ 7835 h 9790"/>
                  <a:gd name="T50" fmla="*/ 8035 w 17300"/>
                  <a:gd name="T51" fmla="*/ 7397 h 9790"/>
                  <a:gd name="T52" fmla="*/ 7669 w 17300"/>
                  <a:gd name="T53" fmla="*/ 8125 h 9790"/>
                  <a:gd name="T54" fmla="*/ 6744 w 17300"/>
                  <a:gd name="T55" fmla="*/ 8723 h 9790"/>
                  <a:gd name="T56" fmla="*/ 6161 w 17300"/>
                  <a:gd name="T57" fmla="*/ 8494 h 9790"/>
                  <a:gd name="T58" fmla="*/ 6158 w 17300"/>
                  <a:gd name="T59" fmla="*/ 7818 h 9790"/>
                  <a:gd name="T60" fmla="*/ 6924 w 17300"/>
                  <a:gd name="T61" fmla="*/ 6953 h 9790"/>
                  <a:gd name="T62" fmla="*/ 7639 w 17300"/>
                  <a:gd name="T63" fmla="*/ 6787 h 9790"/>
                  <a:gd name="T64" fmla="*/ 8226 w 17300"/>
                  <a:gd name="T65" fmla="*/ 6125 h 9790"/>
                  <a:gd name="T66" fmla="*/ 8753 w 17300"/>
                  <a:gd name="T67" fmla="*/ 6749 h 9790"/>
                  <a:gd name="T68" fmla="*/ 9312 w 17300"/>
                  <a:gd name="T69" fmla="*/ 7165 h 9790"/>
                  <a:gd name="T70" fmla="*/ 9750 w 17300"/>
                  <a:gd name="T71" fmla="*/ 7785 h 9790"/>
                  <a:gd name="T72" fmla="*/ 9586 w 17300"/>
                  <a:gd name="T73" fmla="*/ 9022 h 9790"/>
                  <a:gd name="T74" fmla="*/ 9899 w 17300"/>
                  <a:gd name="T75" fmla="*/ 9730 h 9790"/>
                  <a:gd name="T76" fmla="*/ 10534 w 17300"/>
                  <a:gd name="T77" fmla="*/ 9693 h 9790"/>
                  <a:gd name="T78" fmla="*/ 10723 w 17300"/>
                  <a:gd name="T79" fmla="*/ 9111 h 9790"/>
                  <a:gd name="T80" fmla="*/ 10457 w 17300"/>
                  <a:gd name="T81" fmla="*/ 8551 h 9790"/>
                  <a:gd name="T82" fmla="*/ 11154 w 17300"/>
                  <a:gd name="T83" fmla="*/ 8846 h 9790"/>
                  <a:gd name="T84" fmla="*/ 11643 w 17300"/>
                  <a:gd name="T85" fmla="*/ 8526 h 9790"/>
                  <a:gd name="T86" fmla="*/ 11551 w 17300"/>
                  <a:gd name="T87" fmla="*/ 7843 h 9790"/>
                  <a:gd name="T88" fmla="*/ 11705 w 17300"/>
                  <a:gd name="T89" fmla="*/ 7809 h 9790"/>
                  <a:gd name="T90" fmla="*/ 12367 w 17300"/>
                  <a:gd name="T91" fmla="*/ 7836 h 9790"/>
                  <a:gd name="T92" fmla="*/ 12620 w 17300"/>
                  <a:gd name="T93" fmla="*/ 7295 h 9790"/>
                  <a:gd name="T94" fmla="*/ 12267 w 17300"/>
                  <a:gd name="T95" fmla="*/ 6601 h 9790"/>
                  <a:gd name="T96" fmla="*/ 12964 w 17300"/>
                  <a:gd name="T97" fmla="*/ 6951 h 9790"/>
                  <a:gd name="T98" fmla="*/ 13502 w 17300"/>
                  <a:gd name="T99" fmla="*/ 6702 h 9790"/>
                  <a:gd name="T100" fmla="*/ 13480 w 17300"/>
                  <a:gd name="T101" fmla="*/ 6038 h 9790"/>
                  <a:gd name="T102" fmla="*/ 9128 w 17300"/>
                  <a:gd name="T103" fmla="*/ 3981 h 9790"/>
                  <a:gd name="T104" fmla="*/ 7147 w 17300"/>
                  <a:gd name="T105" fmla="*/ 4157 h 9790"/>
                  <a:gd name="T106" fmla="*/ 7716 w 17300"/>
                  <a:gd name="T107" fmla="*/ 295 h 9790"/>
                  <a:gd name="T108" fmla="*/ 7253 w 17300"/>
                  <a:gd name="T109" fmla="*/ 327 h 9790"/>
                  <a:gd name="T110" fmla="*/ 3540 w 17300"/>
                  <a:gd name="T111" fmla="*/ 5627 h 9790"/>
                  <a:gd name="T112" fmla="*/ 3979 w 17300"/>
                  <a:gd name="T113" fmla="*/ 4893 h 9790"/>
                  <a:gd name="T114" fmla="*/ 5240 w 17300"/>
                  <a:gd name="T115" fmla="*/ 4079 h 9790"/>
                  <a:gd name="T116" fmla="*/ 6531 w 17300"/>
                  <a:gd name="T117" fmla="*/ 4347 h 9790"/>
                  <a:gd name="T118" fmla="*/ 6942 w 17300"/>
                  <a:gd name="T119" fmla="*/ 5037 h 9790"/>
                  <a:gd name="T120" fmla="*/ 7627 w 17300"/>
                  <a:gd name="T121" fmla="*/ 5481 h 9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00" h="9790">
                    <a:moveTo>
                      <a:pt x="14213" y="6045"/>
                    </a:moveTo>
                    <a:lnTo>
                      <a:pt x="17300" y="6045"/>
                    </a:lnTo>
                    <a:lnTo>
                      <a:pt x="17300" y="1829"/>
                    </a:lnTo>
                    <a:lnTo>
                      <a:pt x="12638" y="1829"/>
                    </a:lnTo>
                    <a:lnTo>
                      <a:pt x="10002" y="0"/>
                    </a:lnTo>
                    <a:lnTo>
                      <a:pt x="6875" y="3142"/>
                    </a:lnTo>
                    <a:lnTo>
                      <a:pt x="6965" y="3228"/>
                    </a:lnTo>
                    <a:lnTo>
                      <a:pt x="7055" y="3307"/>
                    </a:lnTo>
                    <a:lnTo>
                      <a:pt x="7144" y="3377"/>
                    </a:lnTo>
                    <a:lnTo>
                      <a:pt x="7231" y="3437"/>
                    </a:lnTo>
                    <a:lnTo>
                      <a:pt x="7318" y="3491"/>
                    </a:lnTo>
                    <a:lnTo>
                      <a:pt x="7404" y="3537"/>
                    </a:lnTo>
                    <a:lnTo>
                      <a:pt x="7489" y="3575"/>
                    </a:lnTo>
                    <a:lnTo>
                      <a:pt x="7572" y="3606"/>
                    </a:lnTo>
                    <a:lnTo>
                      <a:pt x="7655" y="3630"/>
                    </a:lnTo>
                    <a:lnTo>
                      <a:pt x="7736" y="3648"/>
                    </a:lnTo>
                    <a:lnTo>
                      <a:pt x="7816" y="3660"/>
                    </a:lnTo>
                    <a:lnTo>
                      <a:pt x="7894" y="3667"/>
                    </a:lnTo>
                    <a:lnTo>
                      <a:pt x="7971" y="3668"/>
                    </a:lnTo>
                    <a:lnTo>
                      <a:pt x="8047" y="3664"/>
                    </a:lnTo>
                    <a:lnTo>
                      <a:pt x="8120" y="3656"/>
                    </a:lnTo>
                    <a:lnTo>
                      <a:pt x="8193" y="3644"/>
                    </a:lnTo>
                    <a:lnTo>
                      <a:pt x="8264" y="3626"/>
                    </a:lnTo>
                    <a:lnTo>
                      <a:pt x="8332" y="3607"/>
                    </a:lnTo>
                    <a:lnTo>
                      <a:pt x="8399" y="3583"/>
                    </a:lnTo>
                    <a:lnTo>
                      <a:pt x="8464" y="3557"/>
                    </a:lnTo>
                    <a:lnTo>
                      <a:pt x="8528" y="3528"/>
                    </a:lnTo>
                    <a:lnTo>
                      <a:pt x="8588" y="3498"/>
                    </a:lnTo>
                    <a:lnTo>
                      <a:pt x="8648" y="3464"/>
                    </a:lnTo>
                    <a:lnTo>
                      <a:pt x="8704" y="3431"/>
                    </a:lnTo>
                    <a:lnTo>
                      <a:pt x="8759" y="3395"/>
                    </a:lnTo>
                    <a:lnTo>
                      <a:pt x="8811" y="3358"/>
                    </a:lnTo>
                    <a:lnTo>
                      <a:pt x="8861" y="3321"/>
                    </a:lnTo>
                    <a:lnTo>
                      <a:pt x="8908" y="3285"/>
                    </a:lnTo>
                    <a:lnTo>
                      <a:pt x="8954" y="3248"/>
                    </a:lnTo>
                    <a:lnTo>
                      <a:pt x="8996" y="3211"/>
                    </a:lnTo>
                    <a:lnTo>
                      <a:pt x="9036" y="3175"/>
                    </a:lnTo>
                    <a:lnTo>
                      <a:pt x="9074" y="3142"/>
                    </a:lnTo>
                    <a:lnTo>
                      <a:pt x="10372" y="1855"/>
                    </a:lnTo>
                    <a:lnTo>
                      <a:pt x="13869" y="5355"/>
                    </a:lnTo>
                    <a:lnTo>
                      <a:pt x="13893" y="5380"/>
                    </a:lnTo>
                    <a:lnTo>
                      <a:pt x="13917" y="5406"/>
                    </a:lnTo>
                    <a:lnTo>
                      <a:pt x="13938" y="5433"/>
                    </a:lnTo>
                    <a:lnTo>
                      <a:pt x="13960" y="5460"/>
                    </a:lnTo>
                    <a:lnTo>
                      <a:pt x="13981" y="5488"/>
                    </a:lnTo>
                    <a:lnTo>
                      <a:pt x="13999" y="5517"/>
                    </a:lnTo>
                    <a:lnTo>
                      <a:pt x="14017" y="5546"/>
                    </a:lnTo>
                    <a:lnTo>
                      <a:pt x="14035" y="5574"/>
                    </a:lnTo>
                    <a:lnTo>
                      <a:pt x="14051" y="5603"/>
                    </a:lnTo>
                    <a:lnTo>
                      <a:pt x="14066" y="5632"/>
                    </a:lnTo>
                    <a:lnTo>
                      <a:pt x="14081" y="5660"/>
                    </a:lnTo>
                    <a:lnTo>
                      <a:pt x="14094" y="5690"/>
                    </a:lnTo>
                    <a:lnTo>
                      <a:pt x="14119" y="5745"/>
                    </a:lnTo>
                    <a:lnTo>
                      <a:pt x="14141" y="5799"/>
                    </a:lnTo>
                    <a:lnTo>
                      <a:pt x="14159" y="5850"/>
                    </a:lnTo>
                    <a:lnTo>
                      <a:pt x="14174" y="5896"/>
                    </a:lnTo>
                    <a:lnTo>
                      <a:pt x="14187" y="5937"/>
                    </a:lnTo>
                    <a:lnTo>
                      <a:pt x="14197" y="5974"/>
                    </a:lnTo>
                    <a:lnTo>
                      <a:pt x="14210" y="6025"/>
                    </a:lnTo>
                    <a:lnTo>
                      <a:pt x="14213" y="6045"/>
                    </a:lnTo>
                    <a:close/>
                    <a:moveTo>
                      <a:pt x="5921" y="4957"/>
                    </a:moveTo>
                    <a:lnTo>
                      <a:pt x="5946" y="4983"/>
                    </a:lnTo>
                    <a:lnTo>
                      <a:pt x="5969" y="5010"/>
                    </a:lnTo>
                    <a:lnTo>
                      <a:pt x="5989" y="5038"/>
                    </a:lnTo>
                    <a:lnTo>
                      <a:pt x="6007" y="5069"/>
                    </a:lnTo>
                    <a:lnTo>
                      <a:pt x="6024" y="5100"/>
                    </a:lnTo>
                    <a:lnTo>
                      <a:pt x="6038" y="5132"/>
                    </a:lnTo>
                    <a:lnTo>
                      <a:pt x="6050" y="5167"/>
                    </a:lnTo>
                    <a:lnTo>
                      <a:pt x="6059" y="5202"/>
                    </a:lnTo>
                    <a:lnTo>
                      <a:pt x="6067" y="5237"/>
                    </a:lnTo>
                    <a:lnTo>
                      <a:pt x="6072" y="5274"/>
                    </a:lnTo>
                    <a:lnTo>
                      <a:pt x="6077" y="5312"/>
                    </a:lnTo>
                    <a:lnTo>
                      <a:pt x="6078" y="5351"/>
                    </a:lnTo>
                    <a:lnTo>
                      <a:pt x="6077" y="5390"/>
                    </a:lnTo>
                    <a:lnTo>
                      <a:pt x="6074" y="5429"/>
                    </a:lnTo>
                    <a:lnTo>
                      <a:pt x="6070" y="5470"/>
                    </a:lnTo>
                    <a:lnTo>
                      <a:pt x="6064" y="5510"/>
                    </a:lnTo>
                    <a:lnTo>
                      <a:pt x="6055" y="5552"/>
                    </a:lnTo>
                    <a:lnTo>
                      <a:pt x="6045" y="5593"/>
                    </a:lnTo>
                    <a:lnTo>
                      <a:pt x="6032" y="5634"/>
                    </a:lnTo>
                    <a:lnTo>
                      <a:pt x="6018" y="5677"/>
                    </a:lnTo>
                    <a:lnTo>
                      <a:pt x="6002" y="5719"/>
                    </a:lnTo>
                    <a:lnTo>
                      <a:pt x="5985" y="5761"/>
                    </a:lnTo>
                    <a:lnTo>
                      <a:pt x="5965" y="5802"/>
                    </a:lnTo>
                    <a:lnTo>
                      <a:pt x="5944" y="5844"/>
                    </a:lnTo>
                    <a:lnTo>
                      <a:pt x="5920" y="5885"/>
                    </a:lnTo>
                    <a:lnTo>
                      <a:pt x="5895" y="5927"/>
                    </a:lnTo>
                    <a:lnTo>
                      <a:pt x="5869" y="5968"/>
                    </a:lnTo>
                    <a:lnTo>
                      <a:pt x="5840" y="6008"/>
                    </a:lnTo>
                    <a:lnTo>
                      <a:pt x="5810" y="6048"/>
                    </a:lnTo>
                    <a:lnTo>
                      <a:pt x="5778" y="6087"/>
                    </a:lnTo>
                    <a:lnTo>
                      <a:pt x="5745" y="6126"/>
                    </a:lnTo>
                    <a:lnTo>
                      <a:pt x="5709" y="6164"/>
                    </a:lnTo>
                    <a:lnTo>
                      <a:pt x="5471" y="6389"/>
                    </a:lnTo>
                    <a:lnTo>
                      <a:pt x="5433" y="6425"/>
                    </a:lnTo>
                    <a:lnTo>
                      <a:pt x="5394" y="6460"/>
                    </a:lnTo>
                    <a:lnTo>
                      <a:pt x="5355" y="6492"/>
                    </a:lnTo>
                    <a:lnTo>
                      <a:pt x="5317" y="6524"/>
                    </a:lnTo>
                    <a:lnTo>
                      <a:pt x="5277" y="6553"/>
                    </a:lnTo>
                    <a:lnTo>
                      <a:pt x="5235" y="6580"/>
                    </a:lnTo>
                    <a:lnTo>
                      <a:pt x="5195" y="6605"/>
                    </a:lnTo>
                    <a:lnTo>
                      <a:pt x="5154" y="6629"/>
                    </a:lnTo>
                    <a:lnTo>
                      <a:pt x="5112" y="6650"/>
                    </a:lnTo>
                    <a:lnTo>
                      <a:pt x="5071" y="6671"/>
                    </a:lnTo>
                    <a:lnTo>
                      <a:pt x="5030" y="6688"/>
                    </a:lnTo>
                    <a:lnTo>
                      <a:pt x="4988" y="6704"/>
                    </a:lnTo>
                    <a:lnTo>
                      <a:pt x="4947" y="6719"/>
                    </a:lnTo>
                    <a:lnTo>
                      <a:pt x="4906" y="6732"/>
                    </a:lnTo>
                    <a:lnTo>
                      <a:pt x="4865" y="6741"/>
                    </a:lnTo>
                    <a:lnTo>
                      <a:pt x="4823" y="6750"/>
                    </a:lnTo>
                    <a:lnTo>
                      <a:pt x="4782" y="6756"/>
                    </a:lnTo>
                    <a:lnTo>
                      <a:pt x="4742" y="6761"/>
                    </a:lnTo>
                    <a:lnTo>
                      <a:pt x="4703" y="6764"/>
                    </a:lnTo>
                    <a:lnTo>
                      <a:pt x="4665" y="6764"/>
                    </a:lnTo>
                    <a:lnTo>
                      <a:pt x="4626" y="6763"/>
                    </a:lnTo>
                    <a:lnTo>
                      <a:pt x="4588" y="6760"/>
                    </a:lnTo>
                    <a:lnTo>
                      <a:pt x="4551" y="6754"/>
                    </a:lnTo>
                    <a:lnTo>
                      <a:pt x="4515" y="6747"/>
                    </a:lnTo>
                    <a:lnTo>
                      <a:pt x="4480" y="6737"/>
                    </a:lnTo>
                    <a:lnTo>
                      <a:pt x="4446" y="6726"/>
                    </a:lnTo>
                    <a:lnTo>
                      <a:pt x="4413" y="6712"/>
                    </a:lnTo>
                    <a:lnTo>
                      <a:pt x="4381" y="6697"/>
                    </a:lnTo>
                    <a:lnTo>
                      <a:pt x="4350" y="6680"/>
                    </a:lnTo>
                    <a:lnTo>
                      <a:pt x="4321" y="6659"/>
                    </a:lnTo>
                    <a:lnTo>
                      <a:pt x="4293" y="6637"/>
                    </a:lnTo>
                    <a:lnTo>
                      <a:pt x="4266" y="6614"/>
                    </a:lnTo>
                    <a:lnTo>
                      <a:pt x="4242" y="6589"/>
                    </a:lnTo>
                    <a:lnTo>
                      <a:pt x="4220" y="6562"/>
                    </a:lnTo>
                    <a:lnTo>
                      <a:pt x="4201" y="6532"/>
                    </a:lnTo>
                    <a:lnTo>
                      <a:pt x="4182" y="6502"/>
                    </a:lnTo>
                    <a:lnTo>
                      <a:pt x="4167" y="6471"/>
                    </a:lnTo>
                    <a:lnTo>
                      <a:pt x="4154" y="6438"/>
                    </a:lnTo>
                    <a:lnTo>
                      <a:pt x="4142" y="6405"/>
                    </a:lnTo>
                    <a:lnTo>
                      <a:pt x="4133" y="6370"/>
                    </a:lnTo>
                    <a:lnTo>
                      <a:pt x="4126" y="6333"/>
                    </a:lnTo>
                    <a:lnTo>
                      <a:pt x="4121" y="6297"/>
                    </a:lnTo>
                    <a:lnTo>
                      <a:pt x="4116" y="6259"/>
                    </a:lnTo>
                    <a:lnTo>
                      <a:pt x="4115" y="6221"/>
                    </a:lnTo>
                    <a:lnTo>
                      <a:pt x="4116" y="6182"/>
                    </a:lnTo>
                    <a:lnTo>
                      <a:pt x="4118" y="6142"/>
                    </a:lnTo>
                    <a:lnTo>
                      <a:pt x="4123" y="6102"/>
                    </a:lnTo>
                    <a:lnTo>
                      <a:pt x="4129" y="6061"/>
                    </a:lnTo>
                    <a:lnTo>
                      <a:pt x="4138" y="6020"/>
                    </a:lnTo>
                    <a:lnTo>
                      <a:pt x="4149" y="5977"/>
                    </a:lnTo>
                    <a:lnTo>
                      <a:pt x="4161" y="5936"/>
                    </a:lnTo>
                    <a:lnTo>
                      <a:pt x="4175" y="5894"/>
                    </a:lnTo>
                    <a:lnTo>
                      <a:pt x="4191" y="5852"/>
                    </a:lnTo>
                    <a:lnTo>
                      <a:pt x="4209" y="5811"/>
                    </a:lnTo>
                    <a:lnTo>
                      <a:pt x="4229" y="5769"/>
                    </a:lnTo>
                    <a:lnTo>
                      <a:pt x="4250" y="5726"/>
                    </a:lnTo>
                    <a:lnTo>
                      <a:pt x="4274" y="5685"/>
                    </a:lnTo>
                    <a:lnTo>
                      <a:pt x="4299" y="5644"/>
                    </a:lnTo>
                    <a:lnTo>
                      <a:pt x="4327" y="5603"/>
                    </a:lnTo>
                    <a:lnTo>
                      <a:pt x="4356" y="5563"/>
                    </a:lnTo>
                    <a:lnTo>
                      <a:pt x="4387" y="5523"/>
                    </a:lnTo>
                    <a:lnTo>
                      <a:pt x="4420" y="5484"/>
                    </a:lnTo>
                    <a:lnTo>
                      <a:pt x="4454" y="5445"/>
                    </a:lnTo>
                    <a:lnTo>
                      <a:pt x="4490" y="5408"/>
                    </a:lnTo>
                    <a:lnTo>
                      <a:pt x="4729" y="5182"/>
                    </a:lnTo>
                    <a:lnTo>
                      <a:pt x="4765" y="5147"/>
                    </a:lnTo>
                    <a:lnTo>
                      <a:pt x="4803" y="5112"/>
                    </a:lnTo>
                    <a:lnTo>
                      <a:pt x="4841" y="5078"/>
                    </a:lnTo>
                    <a:lnTo>
                      <a:pt x="4880" y="5048"/>
                    </a:lnTo>
                    <a:lnTo>
                      <a:pt x="4919" y="5019"/>
                    </a:lnTo>
                    <a:lnTo>
                      <a:pt x="4959" y="4992"/>
                    </a:lnTo>
                    <a:lnTo>
                      <a:pt x="5000" y="4966"/>
                    </a:lnTo>
                    <a:lnTo>
                      <a:pt x="5040" y="4942"/>
                    </a:lnTo>
                    <a:lnTo>
                      <a:pt x="5081" y="4920"/>
                    </a:lnTo>
                    <a:lnTo>
                      <a:pt x="5122" y="4901"/>
                    </a:lnTo>
                    <a:lnTo>
                      <a:pt x="5164" y="4883"/>
                    </a:lnTo>
                    <a:lnTo>
                      <a:pt x="5205" y="4866"/>
                    </a:lnTo>
                    <a:lnTo>
                      <a:pt x="5246" y="4852"/>
                    </a:lnTo>
                    <a:lnTo>
                      <a:pt x="5288" y="4840"/>
                    </a:lnTo>
                    <a:lnTo>
                      <a:pt x="5329" y="4830"/>
                    </a:lnTo>
                    <a:lnTo>
                      <a:pt x="5369" y="4821"/>
                    </a:lnTo>
                    <a:lnTo>
                      <a:pt x="5411" y="4814"/>
                    </a:lnTo>
                    <a:lnTo>
                      <a:pt x="5451" y="4810"/>
                    </a:lnTo>
                    <a:lnTo>
                      <a:pt x="5490" y="4808"/>
                    </a:lnTo>
                    <a:lnTo>
                      <a:pt x="5528" y="4807"/>
                    </a:lnTo>
                    <a:lnTo>
                      <a:pt x="5567" y="4809"/>
                    </a:lnTo>
                    <a:lnTo>
                      <a:pt x="5605" y="4812"/>
                    </a:lnTo>
                    <a:lnTo>
                      <a:pt x="5641" y="4818"/>
                    </a:lnTo>
                    <a:lnTo>
                      <a:pt x="5678" y="4824"/>
                    </a:lnTo>
                    <a:lnTo>
                      <a:pt x="5712" y="4834"/>
                    </a:lnTo>
                    <a:lnTo>
                      <a:pt x="5746" y="4846"/>
                    </a:lnTo>
                    <a:lnTo>
                      <a:pt x="5778" y="4859"/>
                    </a:lnTo>
                    <a:lnTo>
                      <a:pt x="5810" y="4875"/>
                    </a:lnTo>
                    <a:lnTo>
                      <a:pt x="5840" y="4892"/>
                    </a:lnTo>
                    <a:lnTo>
                      <a:pt x="5868" y="4912"/>
                    </a:lnTo>
                    <a:lnTo>
                      <a:pt x="5896" y="4933"/>
                    </a:lnTo>
                    <a:lnTo>
                      <a:pt x="5921" y="4957"/>
                    </a:lnTo>
                    <a:close/>
                    <a:moveTo>
                      <a:pt x="6902" y="5938"/>
                    </a:moveTo>
                    <a:lnTo>
                      <a:pt x="6926" y="5963"/>
                    </a:lnTo>
                    <a:lnTo>
                      <a:pt x="6949" y="5990"/>
                    </a:lnTo>
                    <a:lnTo>
                      <a:pt x="6970" y="6020"/>
                    </a:lnTo>
                    <a:lnTo>
                      <a:pt x="6988" y="6050"/>
                    </a:lnTo>
                    <a:lnTo>
                      <a:pt x="7004" y="6081"/>
                    </a:lnTo>
                    <a:lnTo>
                      <a:pt x="7018" y="6114"/>
                    </a:lnTo>
                    <a:lnTo>
                      <a:pt x="7030" y="6147"/>
                    </a:lnTo>
                    <a:lnTo>
                      <a:pt x="7040" y="6182"/>
                    </a:lnTo>
                    <a:lnTo>
                      <a:pt x="7048" y="6219"/>
                    </a:lnTo>
                    <a:lnTo>
                      <a:pt x="7053" y="6255"/>
                    </a:lnTo>
                    <a:lnTo>
                      <a:pt x="7056" y="6293"/>
                    </a:lnTo>
                    <a:lnTo>
                      <a:pt x="7058" y="6331"/>
                    </a:lnTo>
                    <a:lnTo>
                      <a:pt x="7057" y="6370"/>
                    </a:lnTo>
                    <a:lnTo>
                      <a:pt x="7055" y="6410"/>
                    </a:lnTo>
                    <a:lnTo>
                      <a:pt x="7051" y="6450"/>
                    </a:lnTo>
                    <a:lnTo>
                      <a:pt x="7044" y="6491"/>
                    </a:lnTo>
                    <a:lnTo>
                      <a:pt x="7036" y="6532"/>
                    </a:lnTo>
                    <a:lnTo>
                      <a:pt x="7025" y="6574"/>
                    </a:lnTo>
                    <a:lnTo>
                      <a:pt x="7013" y="6616"/>
                    </a:lnTo>
                    <a:lnTo>
                      <a:pt x="6999" y="6658"/>
                    </a:lnTo>
                    <a:lnTo>
                      <a:pt x="6983" y="6700"/>
                    </a:lnTo>
                    <a:lnTo>
                      <a:pt x="6965" y="6741"/>
                    </a:lnTo>
                    <a:lnTo>
                      <a:pt x="6945" y="6783"/>
                    </a:lnTo>
                    <a:lnTo>
                      <a:pt x="6923" y="6826"/>
                    </a:lnTo>
                    <a:lnTo>
                      <a:pt x="6901" y="6867"/>
                    </a:lnTo>
                    <a:lnTo>
                      <a:pt x="6876" y="6908"/>
                    </a:lnTo>
                    <a:lnTo>
                      <a:pt x="6849" y="6949"/>
                    </a:lnTo>
                    <a:lnTo>
                      <a:pt x="6821" y="6989"/>
                    </a:lnTo>
                    <a:lnTo>
                      <a:pt x="6790" y="7029"/>
                    </a:lnTo>
                    <a:lnTo>
                      <a:pt x="6758" y="7068"/>
                    </a:lnTo>
                    <a:lnTo>
                      <a:pt x="6724" y="7107"/>
                    </a:lnTo>
                    <a:lnTo>
                      <a:pt x="6690" y="7144"/>
                    </a:lnTo>
                    <a:lnTo>
                      <a:pt x="6451" y="7370"/>
                    </a:lnTo>
                    <a:lnTo>
                      <a:pt x="6413" y="7406"/>
                    </a:lnTo>
                    <a:lnTo>
                      <a:pt x="6375" y="7440"/>
                    </a:lnTo>
                    <a:lnTo>
                      <a:pt x="6336" y="7474"/>
                    </a:lnTo>
                    <a:lnTo>
                      <a:pt x="6296" y="7505"/>
                    </a:lnTo>
                    <a:lnTo>
                      <a:pt x="6256" y="7534"/>
                    </a:lnTo>
                    <a:lnTo>
                      <a:pt x="6216" y="7561"/>
                    </a:lnTo>
                    <a:lnTo>
                      <a:pt x="6175" y="7587"/>
                    </a:lnTo>
                    <a:lnTo>
                      <a:pt x="6134" y="7611"/>
                    </a:lnTo>
                    <a:lnTo>
                      <a:pt x="6093" y="7634"/>
                    </a:lnTo>
                    <a:lnTo>
                      <a:pt x="6052" y="7654"/>
                    </a:lnTo>
                    <a:lnTo>
                      <a:pt x="6010" y="7673"/>
                    </a:lnTo>
                    <a:lnTo>
                      <a:pt x="5969" y="7689"/>
                    </a:lnTo>
                    <a:lnTo>
                      <a:pt x="5927" y="7703"/>
                    </a:lnTo>
                    <a:lnTo>
                      <a:pt x="5885" y="7716"/>
                    </a:lnTo>
                    <a:lnTo>
                      <a:pt x="5844" y="7727"/>
                    </a:lnTo>
                    <a:lnTo>
                      <a:pt x="5804" y="7735"/>
                    </a:lnTo>
                    <a:lnTo>
                      <a:pt x="5763" y="7742"/>
                    </a:lnTo>
                    <a:lnTo>
                      <a:pt x="5723" y="7747"/>
                    </a:lnTo>
                    <a:lnTo>
                      <a:pt x="5683" y="7750"/>
                    </a:lnTo>
                    <a:lnTo>
                      <a:pt x="5644" y="7751"/>
                    </a:lnTo>
                    <a:lnTo>
                      <a:pt x="5606" y="7750"/>
                    </a:lnTo>
                    <a:lnTo>
                      <a:pt x="5568" y="7746"/>
                    </a:lnTo>
                    <a:lnTo>
                      <a:pt x="5532" y="7741"/>
                    </a:lnTo>
                    <a:lnTo>
                      <a:pt x="5495" y="7733"/>
                    </a:lnTo>
                    <a:lnTo>
                      <a:pt x="5460" y="7724"/>
                    </a:lnTo>
                    <a:lnTo>
                      <a:pt x="5426" y="7712"/>
                    </a:lnTo>
                    <a:lnTo>
                      <a:pt x="5393" y="7698"/>
                    </a:lnTo>
                    <a:lnTo>
                      <a:pt x="5361" y="7681"/>
                    </a:lnTo>
                    <a:lnTo>
                      <a:pt x="5331" y="7663"/>
                    </a:lnTo>
                    <a:lnTo>
                      <a:pt x="5300" y="7642"/>
                    </a:lnTo>
                    <a:lnTo>
                      <a:pt x="5272" y="7620"/>
                    </a:lnTo>
                    <a:lnTo>
                      <a:pt x="5245" y="7595"/>
                    </a:lnTo>
                    <a:lnTo>
                      <a:pt x="5221" y="7569"/>
                    </a:lnTo>
                    <a:lnTo>
                      <a:pt x="5200" y="7542"/>
                    </a:lnTo>
                    <a:lnTo>
                      <a:pt x="5180" y="7514"/>
                    </a:lnTo>
                    <a:lnTo>
                      <a:pt x="5163" y="7483"/>
                    </a:lnTo>
                    <a:lnTo>
                      <a:pt x="5148" y="7452"/>
                    </a:lnTo>
                    <a:lnTo>
                      <a:pt x="5134" y="7420"/>
                    </a:lnTo>
                    <a:lnTo>
                      <a:pt x="5123" y="7385"/>
                    </a:lnTo>
                    <a:lnTo>
                      <a:pt x="5113" y="7350"/>
                    </a:lnTo>
                    <a:lnTo>
                      <a:pt x="5106" y="7315"/>
                    </a:lnTo>
                    <a:lnTo>
                      <a:pt x="5100" y="7278"/>
                    </a:lnTo>
                    <a:lnTo>
                      <a:pt x="5097" y="7241"/>
                    </a:lnTo>
                    <a:lnTo>
                      <a:pt x="5096" y="7202"/>
                    </a:lnTo>
                    <a:lnTo>
                      <a:pt x="5096" y="7163"/>
                    </a:lnTo>
                    <a:lnTo>
                      <a:pt x="5099" y="7124"/>
                    </a:lnTo>
                    <a:lnTo>
                      <a:pt x="5104" y="7083"/>
                    </a:lnTo>
                    <a:lnTo>
                      <a:pt x="5110" y="7043"/>
                    </a:lnTo>
                    <a:lnTo>
                      <a:pt x="5119" y="7002"/>
                    </a:lnTo>
                    <a:lnTo>
                      <a:pt x="5128" y="6961"/>
                    </a:lnTo>
                    <a:lnTo>
                      <a:pt x="5141" y="6920"/>
                    </a:lnTo>
                    <a:lnTo>
                      <a:pt x="5155" y="6879"/>
                    </a:lnTo>
                    <a:lnTo>
                      <a:pt x="5172" y="6836"/>
                    </a:lnTo>
                    <a:lnTo>
                      <a:pt x="5189" y="6795"/>
                    </a:lnTo>
                    <a:lnTo>
                      <a:pt x="5209" y="6754"/>
                    </a:lnTo>
                    <a:lnTo>
                      <a:pt x="5231" y="6713"/>
                    </a:lnTo>
                    <a:lnTo>
                      <a:pt x="5254" y="6672"/>
                    </a:lnTo>
                    <a:lnTo>
                      <a:pt x="5280" y="6632"/>
                    </a:lnTo>
                    <a:lnTo>
                      <a:pt x="5307" y="6592"/>
                    </a:lnTo>
                    <a:lnTo>
                      <a:pt x="5336" y="6553"/>
                    </a:lnTo>
                    <a:lnTo>
                      <a:pt x="5367" y="6514"/>
                    </a:lnTo>
                    <a:lnTo>
                      <a:pt x="5400" y="6476"/>
                    </a:lnTo>
                    <a:lnTo>
                      <a:pt x="5434" y="6438"/>
                    </a:lnTo>
                    <a:lnTo>
                      <a:pt x="5471" y="6402"/>
                    </a:lnTo>
                    <a:lnTo>
                      <a:pt x="5709" y="6164"/>
                    </a:lnTo>
                    <a:lnTo>
                      <a:pt x="5746" y="6127"/>
                    </a:lnTo>
                    <a:lnTo>
                      <a:pt x="5783" y="6092"/>
                    </a:lnTo>
                    <a:lnTo>
                      <a:pt x="5821" y="6060"/>
                    </a:lnTo>
                    <a:lnTo>
                      <a:pt x="5860" y="6028"/>
                    </a:lnTo>
                    <a:lnTo>
                      <a:pt x="5899" y="5999"/>
                    </a:lnTo>
                    <a:lnTo>
                      <a:pt x="5939" y="5972"/>
                    </a:lnTo>
                    <a:lnTo>
                      <a:pt x="5979" y="5947"/>
                    </a:lnTo>
                    <a:lnTo>
                      <a:pt x="6020" y="5923"/>
                    </a:lnTo>
                    <a:lnTo>
                      <a:pt x="6061" y="5902"/>
                    </a:lnTo>
                    <a:lnTo>
                      <a:pt x="6103" y="5881"/>
                    </a:lnTo>
                    <a:lnTo>
                      <a:pt x="6144" y="5864"/>
                    </a:lnTo>
                    <a:lnTo>
                      <a:pt x="6186" y="5848"/>
                    </a:lnTo>
                    <a:lnTo>
                      <a:pt x="6227" y="5834"/>
                    </a:lnTo>
                    <a:lnTo>
                      <a:pt x="6268" y="5821"/>
                    </a:lnTo>
                    <a:lnTo>
                      <a:pt x="6309" y="5811"/>
                    </a:lnTo>
                    <a:lnTo>
                      <a:pt x="6350" y="5802"/>
                    </a:lnTo>
                    <a:lnTo>
                      <a:pt x="6390" y="5796"/>
                    </a:lnTo>
                    <a:lnTo>
                      <a:pt x="6430" y="5791"/>
                    </a:lnTo>
                    <a:lnTo>
                      <a:pt x="6470" y="5788"/>
                    </a:lnTo>
                    <a:lnTo>
                      <a:pt x="6509" y="5788"/>
                    </a:lnTo>
                    <a:lnTo>
                      <a:pt x="6547" y="5789"/>
                    </a:lnTo>
                    <a:lnTo>
                      <a:pt x="6585" y="5792"/>
                    </a:lnTo>
                    <a:lnTo>
                      <a:pt x="6622" y="5798"/>
                    </a:lnTo>
                    <a:lnTo>
                      <a:pt x="6657" y="5805"/>
                    </a:lnTo>
                    <a:lnTo>
                      <a:pt x="6692" y="5815"/>
                    </a:lnTo>
                    <a:lnTo>
                      <a:pt x="6726" y="5826"/>
                    </a:lnTo>
                    <a:lnTo>
                      <a:pt x="6759" y="5840"/>
                    </a:lnTo>
                    <a:lnTo>
                      <a:pt x="6790" y="5855"/>
                    </a:lnTo>
                    <a:lnTo>
                      <a:pt x="6819" y="5872"/>
                    </a:lnTo>
                    <a:lnTo>
                      <a:pt x="6849" y="5892"/>
                    </a:lnTo>
                    <a:lnTo>
                      <a:pt x="6876" y="5915"/>
                    </a:lnTo>
                    <a:lnTo>
                      <a:pt x="6902" y="5938"/>
                    </a:lnTo>
                    <a:close/>
                    <a:moveTo>
                      <a:pt x="8875" y="7900"/>
                    </a:moveTo>
                    <a:lnTo>
                      <a:pt x="8899" y="7927"/>
                    </a:lnTo>
                    <a:lnTo>
                      <a:pt x="8920" y="7955"/>
                    </a:lnTo>
                    <a:lnTo>
                      <a:pt x="8940" y="7984"/>
                    </a:lnTo>
                    <a:lnTo>
                      <a:pt x="8957" y="8015"/>
                    </a:lnTo>
                    <a:lnTo>
                      <a:pt x="8972" y="8047"/>
                    </a:lnTo>
                    <a:lnTo>
                      <a:pt x="8985" y="8081"/>
                    </a:lnTo>
                    <a:lnTo>
                      <a:pt x="8997" y="8114"/>
                    </a:lnTo>
                    <a:lnTo>
                      <a:pt x="9006" y="8150"/>
                    </a:lnTo>
                    <a:lnTo>
                      <a:pt x="9012" y="8186"/>
                    </a:lnTo>
                    <a:lnTo>
                      <a:pt x="9018" y="8222"/>
                    </a:lnTo>
                    <a:lnTo>
                      <a:pt x="9021" y="8260"/>
                    </a:lnTo>
                    <a:lnTo>
                      <a:pt x="9022" y="8299"/>
                    </a:lnTo>
                    <a:lnTo>
                      <a:pt x="9021" y="8338"/>
                    </a:lnTo>
                    <a:lnTo>
                      <a:pt x="9018" y="8377"/>
                    </a:lnTo>
                    <a:lnTo>
                      <a:pt x="9013" y="8417"/>
                    </a:lnTo>
                    <a:lnTo>
                      <a:pt x="9006" y="8458"/>
                    </a:lnTo>
                    <a:lnTo>
                      <a:pt x="8997" y="8499"/>
                    </a:lnTo>
                    <a:lnTo>
                      <a:pt x="8986" y="8540"/>
                    </a:lnTo>
                    <a:lnTo>
                      <a:pt x="8974" y="8582"/>
                    </a:lnTo>
                    <a:lnTo>
                      <a:pt x="8960" y="8623"/>
                    </a:lnTo>
                    <a:lnTo>
                      <a:pt x="8944" y="8665"/>
                    </a:lnTo>
                    <a:lnTo>
                      <a:pt x="8926" y="8706"/>
                    </a:lnTo>
                    <a:lnTo>
                      <a:pt x="8906" y="8747"/>
                    </a:lnTo>
                    <a:lnTo>
                      <a:pt x="8885" y="8789"/>
                    </a:lnTo>
                    <a:lnTo>
                      <a:pt x="8861" y="8830"/>
                    </a:lnTo>
                    <a:lnTo>
                      <a:pt x="8836" y="8870"/>
                    </a:lnTo>
                    <a:lnTo>
                      <a:pt x="8809" y="8912"/>
                    </a:lnTo>
                    <a:lnTo>
                      <a:pt x="8781" y="8952"/>
                    </a:lnTo>
                    <a:lnTo>
                      <a:pt x="8751" y="8990"/>
                    </a:lnTo>
                    <a:lnTo>
                      <a:pt x="8719" y="9029"/>
                    </a:lnTo>
                    <a:lnTo>
                      <a:pt x="8686" y="9068"/>
                    </a:lnTo>
                    <a:lnTo>
                      <a:pt x="8650" y="9106"/>
                    </a:lnTo>
                    <a:lnTo>
                      <a:pt x="8411" y="9344"/>
                    </a:lnTo>
                    <a:lnTo>
                      <a:pt x="8374" y="9380"/>
                    </a:lnTo>
                    <a:lnTo>
                      <a:pt x="8335" y="9414"/>
                    </a:lnTo>
                    <a:lnTo>
                      <a:pt x="8296" y="9445"/>
                    </a:lnTo>
                    <a:lnTo>
                      <a:pt x="8258" y="9475"/>
                    </a:lnTo>
                    <a:lnTo>
                      <a:pt x="8218" y="9503"/>
                    </a:lnTo>
                    <a:lnTo>
                      <a:pt x="8176" y="9530"/>
                    </a:lnTo>
                    <a:lnTo>
                      <a:pt x="8135" y="9555"/>
                    </a:lnTo>
                    <a:lnTo>
                      <a:pt x="8094" y="9579"/>
                    </a:lnTo>
                    <a:lnTo>
                      <a:pt x="8053" y="9601"/>
                    </a:lnTo>
                    <a:lnTo>
                      <a:pt x="8012" y="9620"/>
                    </a:lnTo>
                    <a:lnTo>
                      <a:pt x="7970" y="9637"/>
                    </a:lnTo>
                    <a:lnTo>
                      <a:pt x="7929" y="9654"/>
                    </a:lnTo>
                    <a:lnTo>
                      <a:pt x="7888" y="9668"/>
                    </a:lnTo>
                    <a:lnTo>
                      <a:pt x="7846" y="9681"/>
                    </a:lnTo>
                    <a:lnTo>
                      <a:pt x="7804" y="9690"/>
                    </a:lnTo>
                    <a:lnTo>
                      <a:pt x="7764" y="9699"/>
                    </a:lnTo>
                    <a:lnTo>
                      <a:pt x="7723" y="9706"/>
                    </a:lnTo>
                    <a:lnTo>
                      <a:pt x="7683" y="9710"/>
                    </a:lnTo>
                    <a:lnTo>
                      <a:pt x="7644" y="9712"/>
                    </a:lnTo>
                    <a:lnTo>
                      <a:pt x="7604" y="9713"/>
                    </a:lnTo>
                    <a:lnTo>
                      <a:pt x="7567" y="9712"/>
                    </a:lnTo>
                    <a:lnTo>
                      <a:pt x="7529" y="9708"/>
                    </a:lnTo>
                    <a:lnTo>
                      <a:pt x="7492" y="9702"/>
                    </a:lnTo>
                    <a:lnTo>
                      <a:pt x="7456" y="9695"/>
                    </a:lnTo>
                    <a:lnTo>
                      <a:pt x="7421" y="9685"/>
                    </a:lnTo>
                    <a:lnTo>
                      <a:pt x="7387" y="9673"/>
                    </a:lnTo>
                    <a:lnTo>
                      <a:pt x="7354" y="9659"/>
                    </a:lnTo>
                    <a:lnTo>
                      <a:pt x="7321" y="9643"/>
                    </a:lnTo>
                    <a:lnTo>
                      <a:pt x="7291" y="9624"/>
                    </a:lnTo>
                    <a:lnTo>
                      <a:pt x="7261" y="9604"/>
                    </a:lnTo>
                    <a:lnTo>
                      <a:pt x="7232" y="9581"/>
                    </a:lnTo>
                    <a:lnTo>
                      <a:pt x="7207" y="9556"/>
                    </a:lnTo>
                    <a:lnTo>
                      <a:pt x="7183" y="9530"/>
                    </a:lnTo>
                    <a:lnTo>
                      <a:pt x="7161" y="9503"/>
                    </a:lnTo>
                    <a:lnTo>
                      <a:pt x="7142" y="9475"/>
                    </a:lnTo>
                    <a:lnTo>
                      <a:pt x="7124" y="9445"/>
                    </a:lnTo>
                    <a:lnTo>
                      <a:pt x="7109" y="9414"/>
                    </a:lnTo>
                    <a:lnTo>
                      <a:pt x="7095" y="9381"/>
                    </a:lnTo>
                    <a:lnTo>
                      <a:pt x="7084" y="9348"/>
                    </a:lnTo>
                    <a:lnTo>
                      <a:pt x="7076" y="9312"/>
                    </a:lnTo>
                    <a:lnTo>
                      <a:pt x="7068" y="9276"/>
                    </a:lnTo>
                    <a:lnTo>
                      <a:pt x="7064" y="9239"/>
                    </a:lnTo>
                    <a:lnTo>
                      <a:pt x="7061" y="9203"/>
                    </a:lnTo>
                    <a:lnTo>
                      <a:pt x="7059" y="9164"/>
                    </a:lnTo>
                    <a:lnTo>
                      <a:pt x="7061" y="9125"/>
                    </a:lnTo>
                    <a:lnTo>
                      <a:pt x="7064" y="9086"/>
                    </a:lnTo>
                    <a:lnTo>
                      <a:pt x="7068" y="9046"/>
                    </a:lnTo>
                    <a:lnTo>
                      <a:pt x="7076" y="9005"/>
                    </a:lnTo>
                    <a:lnTo>
                      <a:pt x="7084" y="8963"/>
                    </a:lnTo>
                    <a:lnTo>
                      <a:pt x="7094" y="8922"/>
                    </a:lnTo>
                    <a:lnTo>
                      <a:pt x="7107" y="8881"/>
                    </a:lnTo>
                    <a:lnTo>
                      <a:pt x="7121" y="8840"/>
                    </a:lnTo>
                    <a:lnTo>
                      <a:pt x="7137" y="8799"/>
                    </a:lnTo>
                    <a:lnTo>
                      <a:pt x="7156" y="8757"/>
                    </a:lnTo>
                    <a:lnTo>
                      <a:pt x="7175" y="8716"/>
                    </a:lnTo>
                    <a:lnTo>
                      <a:pt x="7197" y="8675"/>
                    </a:lnTo>
                    <a:lnTo>
                      <a:pt x="7221" y="8635"/>
                    </a:lnTo>
                    <a:lnTo>
                      <a:pt x="7245" y="8593"/>
                    </a:lnTo>
                    <a:lnTo>
                      <a:pt x="7271" y="8553"/>
                    </a:lnTo>
                    <a:lnTo>
                      <a:pt x="7301" y="8514"/>
                    </a:lnTo>
                    <a:lnTo>
                      <a:pt x="7331" y="8476"/>
                    </a:lnTo>
                    <a:lnTo>
                      <a:pt x="7362" y="8438"/>
                    </a:lnTo>
                    <a:lnTo>
                      <a:pt x="7396" y="8400"/>
                    </a:lnTo>
                    <a:lnTo>
                      <a:pt x="7431" y="8364"/>
                    </a:lnTo>
                    <a:lnTo>
                      <a:pt x="7669" y="8125"/>
                    </a:lnTo>
                    <a:lnTo>
                      <a:pt x="7707" y="8088"/>
                    </a:lnTo>
                    <a:lnTo>
                      <a:pt x="7746" y="8054"/>
                    </a:lnTo>
                    <a:lnTo>
                      <a:pt x="7785" y="8021"/>
                    </a:lnTo>
                    <a:lnTo>
                      <a:pt x="7824" y="7991"/>
                    </a:lnTo>
                    <a:lnTo>
                      <a:pt x="7864" y="7962"/>
                    </a:lnTo>
                    <a:lnTo>
                      <a:pt x="7905" y="7933"/>
                    </a:lnTo>
                    <a:lnTo>
                      <a:pt x="7945" y="7909"/>
                    </a:lnTo>
                    <a:lnTo>
                      <a:pt x="7986" y="7885"/>
                    </a:lnTo>
                    <a:lnTo>
                      <a:pt x="8028" y="7863"/>
                    </a:lnTo>
                    <a:lnTo>
                      <a:pt x="8069" y="7844"/>
                    </a:lnTo>
                    <a:lnTo>
                      <a:pt x="8110" y="7825"/>
                    </a:lnTo>
                    <a:lnTo>
                      <a:pt x="8153" y="7809"/>
                    </a:lnTo>
                    <a:lnTo>
                      <a:pt x="8194" y="7795"/>
                    </a:lnTo>
                    <a:lnTo>
                      <a:pt x="8235" y="7783"/>
                    </a:lnTo>
                    <a:lnTo>
                      <a:pt x="8276" y="7772"/>
                    </a:lnTo>
                    <a:lnTo>
                      <a:pt x="8317" y="7764"/>
                    </a:lnTo>
                    <a:lnTo>
                      <a:pt x="8358" y="7757"/>
                    </a:lnTo>
                    <a:lnTo>
                      <a:pt x="8398" y="7753"/>
                    </a:lnTo>
                    <a:lnTo>
                      <a:pt x="8437" y="7751"/>
                    </a:lnTo>
                    <a:lnTo>
                      <a:pt x="8476" y="7750"/>
                    </a:lnTo>
                    <a:lnTo>
                      <a:pt x="8515" y="7751"/>
                    </a:lnTo>
                    <a:lnTo>
                      <a:pt x="8553" y="7754"/>
                    </a:lnTo>
                    <a:lnTo>
                      <a:pt x="8589" y="7759"/>
                    </a:lnTo>
                    <a:lnTo>
                      <a:pt x="8625" y="7767"/>
                    </a:lnTo>
                    <a:lnTo>
                      <a:pt x="8661" y="7777"/>
                    </a:lnTo>
                    <a:lnTo>
                      <a:pt x="8694" y="7787"/>
                    </a:lnTo>
                    <a:lnTo>
                      <a:pt x="8728" y="7801"/>
                    </a:lnTo>
                    <a:lnTo>
                      <a:pt x="8760" y="7817"/>
                    </a:lnTo>
                    <a:lnTo>
                      <a:pt x="8791" y="7835"/>
                    </a:lnTo>
                    <a:lnTo>
                      <a:pt x="8820" y="7855"/>
                    </a:lnTo>
                    <a:lnTo>
                      <a:pt x="8848" y="7876"/>
                    </a:lnTo>
                    <a:lnTo>
                      <a:pt x="8875" y="7900"/>
                    </a:lnTo>
                    <a:close/>
                    <a:moveTo>
                      <a:pt x="7881" y="6919"/>
                    </a:moveTo>
                    <a:lnTo>
                      <a:pt x="7906" y="6946"/>
                    </a:lnTo>
                    <a:lnTo>
                      <a:pt x="7930" y="6974"/>
                    </a:lnTo>
                    <a:lnTo>
                      <a:pt x="7949" y="7003"/>
                    </a:lnTo>
                    <a:lnTo>
                      <a:pt x="7968" y="7034"/>
                    </a:lnTo>
                    <a:lnTo>
                      <a:pt x="7984" y="7066"/>
                    </a:lnTo>
                    <a:lnTo>
                      <a:pt x="7998" y="7099"/>
                    </a:lnTo>
                    <a:lnTo>
                      <a:pt x="8010" y="7134"/>
                    </a:lnTo>
                    <a:lnTo>
                      <a:pt x="8020" y="7169"/>
                    </a:lnTo>
                    <a:lnTo>
                      <a:pt x="8027" y="7205"/>
                    </a:lnTo>
                    <a:lnTo>
                      <a:pt x="8034" y="7242"/>
                    </a:lnTo>
                    <a:lnTo>
                      <a:pt x="8037" y="7280"/>
                    </a:lnTo>
                    <a:lnTo>
                      <a:pt x="8038" y="7318"/>
                    </a:lnTo>
                    <a:lnTo>
                      <a:pt x="8038" y="7357"/>
                    </a:lnTo>
                    <a:lnTo>
                      <a:pt x="8035" y="7397"/>
                    </a:lnTo>
                    <a:lnTo>
                      <a:pt x="8030" y="7437"/>
                    </a:lnTo>
                    <a:lnTo>
                      <a:pt x="8024" y="7477"/>
                    </a:lnTo>
                    <a:lnTo>
                      <a:pt x="8015" y="7518"/>
                    </a:lnTo>
                    <a:lnTo>
                      <a:pt x="8006" y="7559"/>
                    </a:lnTo>
                    <a:lnTo>
                      <a:pt x="7993" y="7600"/>
                    </a:lnTo>
                    <a:lnTo>
                      <a:pt x="7979" y="7642"/>
                    </a:lnTo>
                    <a:lnTo>
                      <a:pt x="7963" y="7684"/>
                    </a:lnTo>
                    <a:lnTo>
                      <a:pt x="7945" y="7725"/>
                    </a:lnTo>
                    <a:lnTo>
                      <a:pt x="7926" y="7767"/>
                    </a:lnTo>
                    <a:lnTo>
                      <a:pt x="7904" y="7808"/>
                    </a:lnTo>
                    <a:lnTo>
                      <a:pt x="7881" y="7849"/>
                    </a:lnTo>
                    <a:lnTo>
                      <a:pt x="7855" y="7890"/>
                    </a:lnTo>
                    <a:lnTo>
                      <a:pt x="7829" y="7930"/>
                    </a:lnTo>
                    <a:lnTo>
                      <a:pt x="7800" y="7970"/>
                    </a:lnTo>
                    <a:lnTo>
                      <a:pt x="7770" y="8010"/>
                    </a:lnTo>
                    <a:lnTo>
                      <a:pt x="7739" y="8049"/>
                    </a:lnTo>
                    <a:lnTo>
                      <a:pt x="7705" y="8087"/>
                    </a:lnTo>
                    <a:lnTo>
                      <a:pt x="7669" y="8125"/>
                    </a:lnTo>
                    <a:lnTo>
                      <a:pt x="7431" y="8350"/>
                    </a:lnTo>
                    <a:lnTo>
                      <a:pt x="7394" y="8387"/>
                    </a:lnTo>
                    <a:lnTo>
                      <a:pt x="7356" y="8421"/>
                    </a:lnTo>
                    <a:lnTo>
                      <a:pt x="7317" y="8454"/>
                    </a:lnTo>
                    <a:lnTo>
                      <a:pt x="7277" y="8485"/>
                    </a:lnTo>
                    <a:lnTo>
                      <a:pt x="7237" y="8516"/>
                    </a:lnTo>
                    <a:lnTo>
                      <a:pt x="7197" y="8543"/>
                    </a:lnTo>
                    <a:lnTo>
                      <a:pt x="7156" y="8569"/>
                    </a:lnTo>
                    <a:lnTo>
                      <a:pt x="7115" y="8592"/>
                    </a:lnTo>
                    <a:lnTo>
                      <a:pt x="7074" y="8615"/>
                    </a:lnTo>
                    <a:lnTo>
                      <a:pt x="7031" y="8635"/>
                    </a:lnTo>
                    <a:lnTo>
                      <a:pt x="6990" y="8653"/>
                    </a:lnTo>
                    <a:lnTo>
                      <a:pt x="6948" y="8670"/>
                    </a:lnTo>
                    <a:lnTo>
                      <a:pt x="6907" y="8684"/>
                    </a:lnTo>
                    <a:lnTo>
                      <a:pt x="6866" y="8697"/>
                    </a:lnTo>
                    <a:lnTo>
                      <a:pt x="6825" y="8708"/>
                    </a:lnTo>
                    <a:lnTo>
                      <a:pt x="6784" y="8717"/>
                    </a:lnTo>
                    <a:lnTo>
                      <a:pt x="6744" y="8723"/>
                    </a:lnTo>
                    <a:lnTo>
                      <a:pt x="6704" y="8728"/>
                    </a:lnTo>
                    <a:lnTo>
                      <a:pt x="6664" y="8731"/>
                    </a:lnTo>
                    <a:lnTo>
                      <a:pt x="6625" y="8732"/>
                    </a:lnTo>
                    <a:lnTo>
                      <a:pt x="6586" y="8730"/>
                    </a:lnTo>
                    <a:lnTo>
                      <a:pt x="6549" y="8727"/>
                    </a:lnTo>
                    <a:lnTo>
                      <a:pt x="6511" y="8721"/>
                    </a:lnTo>
                    <a:lnTo>
                      <a:pt x="6476" y="8714"/>
                    </a:lnTo>
                    <a:lnTo>
                      <a:pt x="6441" y="8704"/>
                    </a:lnTo>
                    <a:lnTo>
                      <a:pt x="6406" y="8692"/>
                    </a:lnTo>
                    <a:lnTo>
                      <a:pt x="6373" y="8678"/>
                    </a:lnTo>
                    <a:lnTo>
                      <a:pt x="6342" y="8663"/>
                    </a:lnTo>
                    <a:lnTo>
                      <a:pt x="6310" y="8644"/>
                    </a:lnTo>
                    <a:lnTo>
                      <a:pt x="6281" y="8624"/>
                    </a:lnTo>
                    <a:lnTo>
                      <a:pt x="6253" y="8601"/>
                    </a:lnTo>
                    <a:lnTo>
                      <a:pt x="6226" y="8576"/>
                    </a:lnTo>
                    <a:lnTo>
                      <a:pt x="6202" y="8550"/>
                    </a:lnTo>
                    <a:lnTo>
                      <a:pt x="6180" y="8523"/>
                    </a:lnTo>
                    <a:lnTo>
                      <a:pt x="6161" y="8494"/>
                    </a:lnTo>
                    <a:lnTo>
                      <a:pt x="6144" y="8464"/>
                    </a:lnTo>
                    <a:lnTo>
                      <a:pt x="6129" y="8432"/>
                    </a:lnTo>
                    <a:lnTo>
                      <a:pt x="6116" y="8400"/>
                    </a:lnTo>
                    <a:lnTo>
                      <a:pt x="6105" y="8366"/>
                    </a:lnTo>
                    <a:lnTo>
                      <a:pt x="6095" y="8332"/>
                    </a:lnTo>
                    <a:lnTo>
                      <a:pt x="6089" y="8296"/>
                    </a:lnTo>
                    <a:lnTo>
                      <a:pt x="6083" y="8259"/>
                    </a:lnTo>
                    <a:lnTo>
                      <a:pt x="6080" y="8221"/>
                    </a:lnTo>
                    <a:lnTo>
                      <a:pt x="6080" y="8183"/>
                    </a:lnTo>
                    <a:lnTo>
                      <a:pt x="6080" y="8144"/>
                    </a:lnTo>
                    <a:lnTo>
                      <a:pt x="6083" y="8104"/>
                    </a:lnTo>
                    <a:lnTo>
                      <a:pt x="6089" y="8064"/>
                    </a:lnTo>
                    <a:lnTo>
                      <a:pt x="6095" y="8024"/>
                    </a:lnTo>
                    <a:lnTo>
                      <a:pt x="6104" y="7983"/>
                    </a:lnTo>
                    <a:lnTo>
                      <a:pt x="6114" y="7942"/>
                    </a:lnTo>
                    <a:lnTo>
                      <a:pt x="6126" y="7901"/>
                    </a:lnTo>
                    <a:lnTo>
                      <a:pt x="6142" y="7859"/>
                    </a:lnTo>
                    <a:lnTo>
                      <a:pt x="6158" y="7818"/>
                    </a:lnTo>
                    <a:lnTo>
                      <a:pt x="6175" y="7777"/>
                    </a:lnTo>
                    <a:lnTo>
                      <a:pt x="6194" y="7735"/>
                    </a:lnTo>
                    <a:lnTo>
                      <a:pt x="6216" y="7694"/>
                    </a:lnTo>
                    <a:lnTo>
                      <a:pt x="6240" y="7653"/>
                    </a:lnTo>
                    <a:lnTo>
                      <a:pt x="6265" y="7613"/>
                    </a:lnTo>
                    <a:lnTo>
                      <a:pt x="6292" y="7573"/>
                    </a:lnTo>
                    <a:lnTo>
                      <a:pt x="6320" y="7533"/>
                    </a:lnTo>
                    <a:lnTo>
                      <a:pt x="6350" y="7494"/>
                    </a:lnTo>
                    <a:lnTo>
                      <a:pt x="6383" y="7456"/>
                    </a:lnTo>
                    <a:lnTo>
                      <a:pt x="6416" y="7420"/>
                    </a:lnTo>
                    <a:lnTo>
                      <a:pt x="6451" y="7383"/>
                    </a:lnTo>
                    <a:lnTo>
                      <a:pt x="6690" y="7144"/>
                    </a:lnTo>
                    <a:lnTo>
                      <a:pt x="6728" y="7108"/>
                    </a:lnTo>
                    <a:lnTo>
                      <a:pt x="6765" y="7073"/>
                    </a:lnTo>
                    <a:lnTo>
                      <a:pt x="6804" y="7041"/>
                    </a:lnTo>
                    <a:lnTo>
                      <a:pt x="6844" y="7010"/>
                    </a:lnTo>
                    <a:lnTo>
                      <a:pt x="6884" y="6980"/>
                    </a:lnTo>
                    <a:lnTo>
                      <a:pt x="6924" y="6953"/>
                    </a:lnTo>
                    <a:lnTo>
                      <a:pt x="6965" y="6927"/>
                    </a:lnTo>
                    <a:lnTo>
                      <a:pt x="7007" y="6904"/>
                    </a:lnTo>
                    <a:lnTo>
                      <a:pt x="7048" y="6882"/>
                    </a:lnTo>
                    <a:lnTo>
                      <a:pt x="7089" y="6862"/>
                    </a:lnTo>
                    <a:lnTo>
                      <a:pt x="7130" y="6844"/>
                    </a:lnTo>
                    <a:lnTo>
                      <a:pt x="7172" y="6828"/>
                    </a:lnTo>
                    <a:lnTo>
                      <a:pt x="7213" y="6814"/>
                    </a:lnTo>
                    <a:lnTo>
                      <a:pt x="7254" y="6802"/>
                    </a:lnTo>
                    <a:lnTo>
                      <a:pt x="7295" y="6791"/>
                    </a:lnTo>
                    <a:lnTo>
                      <a:pt x="7335" y="6783"/>
                    </a:lnTo>
                    <a:lnTo>
                      <a:pt x="7375" y="6777"/>
                    </a:lnTo>
                    <a:lnTo>
                      <a:pt x="7415" y="6772"/>
                    </a:lnTo>
                    <a:lnTo>
                      <a:pt x="7454" y="6769"/>
                    </a:lnTo>
                    <a:lnTo>
                      <a:pt x="7493" y="6768"/>
                    </a:lnTo>
                    <a:lnTo>
                      <a:pt x="7531" y="6770"/>
                    </a:lnTo>
                    <a:lnTo>
                      <a:pt x="7568" y="6774"/>
                    </a:lnTo>
                    <a:lnTo>
                      <a:pt x="7604" y="6779"/>
                    </a:lnTo>
                    <a:lnTo>
                      <a:pt x="7639" y="6787"/>
                    </a:lnTo>
                    <a:lnTo>
                      <a:pt x="7674" y="6795"/>
                    </a:lnTo>
                    <a:lnTo>
                      <a:pt x="7707" y="6807"/>
                    </a:lnTo>
                    <a:lnTo>
                      <a:pt x="7740" y="6820"/>
                    </a:lnTo>
                    <a:lnTo>
                      <a:pt x="7771" y="6836"/>
                    </a:lnTo>
                    <a:lnTo>
                      <a:pt x="7800" y="6854"/>
                    </a:lnTo>
                    <a:lnTo>
                      <a:pt x="7829" y="6873"/>
                    </a:lnTo>
                    <a:lnTo>
                      <a:pt x="7856" y="6895"/>
                    </a:lnTo>
                    <a:lnTo>
                      <a:pt x="7881" y="6919"/>
                    </a:lnTo>
                    <a:close/>
                    <a:moveTo>
                      <a:pt x="7828" y="6004"/>
                    </a:moveTo>
                    <a:lnTo>
                      <a:pt x="7876" y="6010"/>
                    </a:lnTo>
                    <a:lnTo>
                      <a:pt x="7922" y="6017"/>
                    </a:lnTo>
                    <a:lnTo>
                      <a:pt x="7968" y="6027"/>
                    </a:lnTo>
                    <a:lnTo>
                      <a:pt x="8012" y="6039"/>
                    </a:lnTo>
                    <a:lnTo>
                      <a:pt x="8056" y="6052"/>
                    </a:lnTo>
                    <a:lnTo>
                      <a:pt x="8100" y="6067"/>
                    </a:lnTo>
                    <a:lnTo>
                      <a:pt x="8143" y="6085"/>
                    </a:lnTo>
                    <a:lnTo>
                      <a:pt x="8185" y="6104"/>
                    </a:lnTo>
                    <a:lnTo>
                      <a:pt x="8226" y="6125"/>
                    </a:lnTo>
                    <a:lnTo>
                      <a:pt x="8266" y="6147"/>
                    </a:lnTo>
                    <a:lnTo>
                      <a:pt x="8306" y="6172"/>
                    </a:lnTo>
                    <a:lnTo>
                      <a:pt x="8345" y="6198"/>
                    </a:lnTo>
                    <a:lnTo>
                      <a:pt x="8383" y="6226"/>
                    </a:lnTo>
                    <a:lnTo>
                      <a:pt x="8420" y="6257"/>
                    </a:lnTo>
                    <a:lnTo>
                      <a:pt x="8455" y="6289"/>
                    </a:lnTo>
                    <a:lnTo>
                      <a:pt x="8491" y="6323"/>
                    </a:lnTo>
                    <a:lnTo>
                      <a:pt x="8522" y="6355"/>
                    </a:lnTo>
                    <a:lnTo>
                      <a:pt x="8553" y="6390"/>
                    </a:lnTo>
                    <a:lnTo>
                      <a:pt x="8581" y="6425"/>
                    </a:lnTo>
                    <a:lnTo>
                      <a:pt x="8608" y="6461"/>
                    </a:lnTo>
                    <a:lnTo>
                      <a:pt x="8633" y="6499"/>
                    </a:lnTo>
                    <a:lnTo>
                      <a:pt x="8656" y="6538"/>
                    </a:lnTo>
                    <a:lnTo>
                      <a:pt x="8679" y="6578"/>
                    </a:lnTo>
                    <a:lnTo>
                      <a:pt x="8700" y="6619"/>
                    </a:lnTo>
                    <a:lnTo>
                      <a:pt x="8719" y="6661"/>
                    </a:lnTo>
                    <a:lnTo>
                      <a:pt x="8737" y="6704"/>
                    </a:lnTo>
                    <a:lnTo>
                      <a:pt x="8753" y="6749"/>
                    </a:lnTo>
                    <a:lnTo>
                      <a:pt x="8767" y="6794"/>
                    </a:lnTo>
                    <a:lnTo>
                      <a:pt x="8780" y="6841"/>
                    </a:lnTo>
                    <a:lnTo>
                      <a:pt x="8791" y="6887"/>
                    </a:lnTo>
                    <a:lnTo>
                      <a:pt x="8800" y="6936"/>
                    </a:lnTo>
                    <a:lnTo>
                      <a:pt x="8809" y="6985"/>
                    </a:lnTo>
                    <a:lnTo>
                      <a:pt x="8855" y="6991"/>
                    </a:lnTo>
                    <a:lnTo>
                      <a:pt x="8903" y="6999"/>
                    </a:lnTo>
                    <a:lnTo>
                      <a:pt x="8948" y="7008"/>
                    </a:lnTo>
                    <a:lnTo>
                      <a:pt x="8995" y="7020"/>
                    </a:lnTo>
                    <a:lnTo>
                      <a:pt x="9039" y="7033"/>
                    </a:lnTo>
                    <a:lnTo>
                      <a:pt x="9084" y="7048"/>
                    </a:lnTo>
                    <a:lnTo>
                      <a:pt x="9127" y="7066"/>
                    </a:lnTo>
                    <a:lnTo>
                      <a:pt x="9170" y="7084"/>
                    </a:lnTo>
                    <a:lnTo>
                      <a:pt x="9211" y="7106"/>
                    </a:lnTo>
                    <a:lnTo>
                      <a:pt x="9252" y="7127"/>
                    </a:lnTo>
                    <a:lnTo>
                      <a:pt x="9273" y="7140"/>
                    </a:lnTo>
                    <a:lnTo>
                      <a:pt x="9292" y="7152"/>
                    </a:lnTo>
                    <a:lnTo>
                      <a:pt x="9312" y="7165"/>
                    </a:lnTo>
                    <a:lnTo>
                      <a:pt x="9330" y="7179"/>
                    </a:lnTo>
                    <a:lnTo>
                      <a:pt x="9350" y="7192"/>
                    </a:lnTo>
                    <a:lnTo>
                      <a:pt x="9368" y="7208"/>
                    </a:lnTo>
                    <a:lnTo>
                      <a:pt x="9386" y="7222"/>
                    </a:lnTo>
                    <a:lnTo>
                      <a:pt x="9404" y="7238"/>
                    </a:lnTo>
                    <a:lnTo>
                      <a:pt x="9421" y="7253"/>
                    </a:lnTo>
                    <a:lnTo>
                      <a:pt x="9438" y="7269"/>
                    </a:lnTo>
                    <a:lnTo>
                      <a:pt x="9454" y="7287"/>
                    </a:lnTo>
                    <a:lnTo>
                      <a:pt x="9472" y="7303"/>
                    </a:lnTo>
                    <a:lnTo>
                      <a:pt x="9514" y="7349"/>
                    </a:lnTo>
                    <a:lnTo>
                      <a:pt x="9555" y="7397"/>
                    </a:lnTo>
                    <a:lnTo>
                      <a:pt x="9592" y="7447"/>
                    </a:lnTo>
                    <a:lnTo>
                      <a:pt x="9625" y="7500"/>
                    </a:lnTo>
                    <a:lnTo>
                      <a:pt x="9657" y="7553"/>
                    </a:lnTo>
                    <a:lnTo>
                      <a:pt x="9684" y="7609"/>
                    </a:lnTo>
                    <a:lnTo>
                      <a:pt x="9709" y="7666"/>
                    </a:lnTo>
                    <a:lnTo>
                      <a:pt x="9730" y="7725"/>
                    </a:lnTo>
                    <a:lnTo>
                      <a:pt x="9750" y="7785"/>
                    </a:lnTo>
                    <a:lnTo>
                      <a:pt x="9765" y="7847"/>
                    </a:lnTo>
                    <a:lnTo>
                      <a:pt x="9778" y="7911"/>
                    </a:lnTo>
                    <a:lnTo>
                      <a:pt x="9787" y="7975"/>
                    </a:lnTo>
                    <a:lnTo>
                      <a:pt x="9795" y="8041"/>
                    </a:lnTo>
                    <a:lnTo>
                      <a:pt x="9798" y="8107"/>
                    </a:lnTo>
                    <a:lnTo>
                      <a:pt x="9799" y="8175"/>
                    </a:lnTo>
                    <a:lnTo>
                      <a:pt x="9797" y="8243"/>
                    </a:lnTo>
                    <a:lnTo>
                      <a:pt x="9793" y="8312"/>
                    </a:lnTo>
                    <a:lnTo>
                      <a:pt x="9785" y="8381"/>
                    </a:lnTo>
                    <a:lnTo>
                      <a:pt x="9775" y="8452"/>
                    </a:lnTo>
                    <a:lnTo>
                      <a:pt x="9760" y="8522"/>
                    </a:lnTo>
                    <a:lnTo>
                      <a:pt x="9744" y="8593"/>
                    </a:lnTo>
                    <a:lnTo>
                      <a:pt x="9725" y="8665"/>
                    </a:lnTo>
                    <a:lnTo>
                      <a:pt x="9703" y="8736"/>
                    </a:lnTo>
                    <a:lnTo>
                      <a:pt x="9678" y="8808"/>
                    </a:lnTo>
                    <a:lnTo>
                      <a:pt x="9650" y="8879"/>
                    </a:lnTo>
                    <a:lnTo>
                      <a:pt x="9620" y="8950"/>
                    </a:lnTo>
                    <a:lnTo>
                      <a:pt x="9586" y="9022"/>
                    </a:lnTo>
                    <a:lnTo>
                      <a:pt x="9551" y="9092"/>
                    </a:lnTo>
                    <a:lnTo>
                      <a:pt x="9512" y="9163"/>
                    </a:lnTo>
                    <a:lnTo>
                      <a:pt x="9470" y="9233"/>
                    </a:lnTo>
                    <a:lnTo>
                      <a:pt x="9425" y="9302"/>
                    </a:lnTo>
                    <a:lnTo>
                      <a:pt x="9379" y="9371"/>
                    </a:lnTo>
                    <a:lnTo>
                      <a:pt x="9432" y="9424"/>
                    </a:lnTo>
                    <a:lnTo>
                      <a:pt x="9467" y="9459"/>
                    </a:lnTo>
                    <a:lnTo>
                      <a:pt x="9505" y="9492"/>
                    </a:lnTo>
                    <a:lnTo>
                      <a:pt x="9543" y="9524"/>
                    </a:lnTo>
                    <a:lnTo>
                      <a:pt x="9581" y="9554"/>
                    </a:lnTo>
                    <a:lnTo>
                      <a:pt x="9620" y="9582"/>
                    </a:lnTo>
                    <a:lnTo>
                      <a:pt x="9659" y="9609"/>
                    </a:lnTo>
                    <a:lnTo>
                      <a:pt x="9699" y="9634"/>
                    </a:lnTo>
                    <a:lnTo>
                      <a:pt x="9738" y="9657"/>
                    </a:lnTo>
                    <a:lnTo>
                      <a:pt x="9778" y="9677"/>
                    </a:lnTo>
                    <a:lnTo>
                      <a:pt x="9819" y="9697"/>
                    </a:lnTo>
                    <a:lnTo>
                      <a:pt x="9859" y="9715"/>
                    </a:lnTo>
                    <a:lnTo>
                      <a:pt x="9899" y="9730"/>
                    </a:lnTo>
                    <a:lnTo>
                      <a:pt x="9939" y="9745"/>
                    </a:lnTo>
                    <a:lnTo>
                      <a:pt x="9979" y="9756"/>
                    </a:lnTo>
                    <a:lnTo>
                      <a:pt x="10018" y="9767"/>
                    </a:lnTo>
                    <a:lnTo>
                      <a:pt x="10058" y="9775"/>
                    </a:lnTo>
                    <a:lnTo>
                      <a:pt x="10097" y="9781"/>
                    </a:lnTo>
                    <a:lnTo>
                      <a:pt x="10135" y="9787"/>
                    </a:lnTo>
                    <a:lnTo>
                      <a:pt x="10172" y="9789"/>
                    </a:lnTo>
                    <a:lnTo>
                      <a:pt x="10210" y="9790"/>
                    </a:lnTo>
                    <a:lnTo>
                      <a:pt x="10247" y="9789"/>
                    </a:lnTo>
                    <a:lnTo>
                      <a:pt x="10283" y="9786"/>
                    </a:lnTo>
                    <a:lnTo>
                      <a:pt x="10317" y="9781"/>
                    </a:lnTo>
                    <a:lnTo>
                      <a:pt x="10352" y="9775"/>
                    </a:lnTo>
                    <a:lnTo>
                      <a:pt x="10385" y="9765"/>
                    </a:lnTo>
                    <a:lnTo>
                      <a:pt x="10417" y="9755"/>
                    </a:lnTo>
                    <a:lnTo>
                      <a:pt x="10448" y="9742"/>
                    </a:lnTo>
                    <a:lnTo>
                      <a:pt x="10478" y="9727"/>
                    </a:lnTo>
                    <a:lnTo>
                      <a:pt x="10507" y="9711"/>
                    </a:lnTo>
                    <a:lnTo>
                      <a:pt x="10534" y="9693"/>
                    </a:lnTo>
                    <a:lnTo>
                      <a:pt x="10559" y="9672"/>
                    </a:lnTo>
                    <a:lnTo>
                      <a:pt x="10584" y="9649"/>
                    </a:lnTo>
                    <a:lnTo>
                      <a:pt x="10608" y="9623"/>
                    </a:lnTo>
                    <a:lnTo>
                      <a:pt x="10630" y="9596"/>
                    </a:lnTo>
                    <a:lnTo>
                      <a:pt x="10649" y="9568"/>
                    </a:lnTo>
                    <a:lnTo>
                      <a:pt x="10667" y="9539"/>
                    </a:lnTo>
                    <a:lnTo>
                      <a:pt x="10683" y="9508"/>
                    </a:lnTo>
                    <a:lnTo>
                      <a:pt x="10696" y="9476"/>
                    </a:lnTo>
                    <a:lnTo>
                      <a:pt x="10708" y="9443"/>
                    </a:lnTo>
                    <a:lnTo>
                      <a:pt x="10717" y="9409"/>
                    </a:lnTo>
                    <a:lnTo>
                      <a:pt x="10725" y="9375"/>
                    </a:lnTo>
                    <a:lnTo>
                      <a:pt x="10730" y="9339"/>
                    </a:lnTo>
                    <a:lnTo>
                      <a:pt x="10734" y="9302"/>
                    </a:lnTo>
                    <a:lnTo>
                      <a:pt x="10736" y="9265"/>
                    </a:lnTo>
                    <a:lnTo>
                      <a:pt x="10735" y="9227"/>
                    </a:lnTo>
                    <a:lnTo>
                      <a:pt x="10732" y="9188"/>
                    </a:lnTo>
                    <a:lnTo>
                      <a:pt x="10729" y="9151"/>
                    </a:lnTo>
                    <a:lnTo>
                      <a:pt x="10723" y="9111"/>
                    </a:lnTo>
                    <a:lnTo>
                      <a:pt x="10715" y="9072"/>
                    </a:lnTo>
                    <a:lnTo>
                      <a:pt x="10705" y="9032"/>
                    </a:lnTo>
                    <a:lnTo>
                      <a:pt x="10695" y="8992"/>
                    </a:lnTo>
                    <a:lnTo>
                      <a:pt x="10681" y="8950"/>
                    </a:lnTo>
                    <a:lnTo>
                      <a:pt x="10665" y="8910"/>
                    </a:lnTo>
                    <a:lnTo>
                      <a:pt x="10649" y="8870"/>
                    </a:lnTo>
                    <a:lnTo>
                      <a:pt x="10631" y="8830"/>
                    </a:lnTo>
                    <a:lnTo>
                      <a:pt x="10610" y="8790"/>
                    </a:lnTo>
                    <a:lnTo>
                      <a:pt x="10588" y="8750"/>
                    </a:lnTo>
                    <a:lnTo>
                      <a:pt x="10564" y="8710"/>
                    </a:lnTo>
                    <a:lnTo>
                      <a:pt x="10539" y="8671"/>
                    </a:lnTo>
                    <a:lnTo>
                      <a:pt x="10511" y="8632"/>
                    </a:lnTo>
                    <a:lnTo>
                      <a:pt x="10483" y="8595"/>
                    </a:lnTo>
                    <a:lnTo>
                      <a:pt x="10451" y="8557"/>
                    </a:lnTo>
                    <a:lnTo>
                      <a:pt x="10419" y="8519"/>
                    </a:lnTo>
                    <a:lnTo>
                      <a:pt x="10385" y="8483"/>
                    </a:lnTo>
                    <a:lnTo>
                      <a:pt x="10420" y="8518"/>
                    </a:lnTo>
                    <a:lnTo>
                      <a:pt x="10457" y="8551"/>
                    </a:lnTo>
                    <a:lnTo>
                      <a:pt x="10494" y="8584"/>
                    </a:lnTo>
                    <a:lnTo>
                      <a:pt x="10530" y="8613"/>
                    </a:lnTo>
                    <a:lnTo>
                      <a:pt x="10568" y="8641"/>
                    </a:lnTo>
                    <a:lnTo>
                      <a:pt x="10607" y="8668"/>
                    </a:lnTo>
                    <a:lnTo>
                      <a:pt x="10645" y="8693"/>
                    </a:lnTo>
                    <a:lnTo>
                      <a:pt x="10685" y="8716"/>
                    </a:lnTo>
                    <a:lnTo>
                      <a:pt x="10724" y="8736"/>
                    </a:lnTo>
                    <a:lnTo>
                      <a:pt x="10764" y="8756"/>
                    </a:lnTo>
                    <a:lnTo>
                      <a:pt x="10803" y="8773"/>
                    </a:lnTo>
                    <a:lnTo>
                      <a:pt x="10843" y="8789"/>
                    </a:lnTo>
                    <a:lnTo>
                      <a:pt x="10883" y="8802"/>
                    </a:lnTo>
                    <a:lnTo>
                      <a:pt x="10923" y="8814"/>
                    </a:lnTo>
                    <a:lnTo>
                      <a:pt x="10962" y="8824"/>
                    </a:lnTo>
                    <a:lnTo>
                      <a:pt x="11002" y="8833"/>
                    </a:lnTo>
                    <a:lnTo>
                      <a:pt x="11041" y="8839"/>
                    </a:lnTo>
                    <a:lnTo>
                      <a:pt x="11078" y="8843"/>
                    </a:lnTo>
                    <a:lnTo>
                      <a:pt x="11117" y="8846"/>
                    </a:lnTo>
                    <a:lnTo>
                      <a:pt x="11154" y="8846"/>
                    </a:lnTo>
                    <a:lnTo>
                      <a:pt x="11191" y="8844"/>
                    </a:lnTo>
                    <a:lnTo>
                      <a:pt x="11228" y="8840"/>
                    </a:lnTo>
                    <a:lnTo>
                      <a:pt x="11263" y="8835"/>
                    </a:lnTo>
                    <a:lnTo>
                      <a:pt x="11298" y="8828"/>
                    </a:lnTo>
                    <a:lnTo>
                      <a:pt x="11332" y="8818"/>
                    </a:lnTo>
                    <a:lnTo>
                      <a:pt x="11365" y="8807"/>
                    </a:lnTo>
                    <a:lnTo>
                      <a:pt x="11396" y="8794"/>
                    </a:lnTo>
                    <a:lnTo>
                      <a:pt x="11428" y="8777"/>
                    </a:lnTo>
                    <a:lnTo>
                      <a:pt x="11457" y="8760"/>
                    </a:lnTo>
                    <a:lnTo>
                      <a:pt x="11485" y="8741"/>
                    </a:lnTo>
                    <a:lnTo>
                      <a:pt x="11512" y="8719"/>
                    </a:lnTo>
                    <a:lnTo>
                      <a:pt x="11538" y="8695"/>
                    </a:lnTo>
                    <a:lnTo>
                      <a:pt x="11561" y="8670"/>
                    </a:lnTo>
                    <a:lnTo>
                      <a:pt x="11581" y="8644"/>
                    </a:lnTo>
                    <a:lnTo>
                      <a:pt x="11600" y="8617"/>
                    </a:lnTo>
                    <a:lnTo>
                      <a:pt x="11616" y="8588"/>
                    </a:lnTo>
                    <a:lnTo>
                      <a:pt x="11631" y="8558"/>
                    </a:lnTo>
                    <a:lnTo>
                      <a:pt x="11643" y="8526"/>
                    </a:lnTo>
                    <a:lnTo>
                      <a:pt x="11654" y="8494"/>
                    </a:lnTo>
                    <a:lnTo>
                      <a:pt x="11663" y="8460"/>
                    </a:lnTo>
                    <a:lnTo>
                      <a:pt x="11670" y="8426"/>
                    </a:lnTo>
                    <a:lnTo>
                      <a:pt x="11675" y="8391"/>
                    </a:lnTo>
                    <a:lnTo>
                      <a:pt x="11678" y="8354"/>
                    </a:lnTo>
                    <a:lnTo>
                      <a:pt x="11679" y="8318"/>
                    </a:lnTo>
                    <a:lnTo>
                      <a:pt x="11679" y="8280"/>
                    </a:lnTo>
                    <a:lnTo>
                      <a:pt x="11675" y="8241"/>
                    </a:lnTo>
                    <a:lnTo>
                      <a:pt x="11671" y="8203"/>
                    </a:lnTo>
                    <a:lnTo>
                      <a:pt x="11666" y="8163"/>
                    </a:lnTo>
                    <a:lnTo>
                      <a:pt x="11657" y="8124"/>
                    </a:lnTo>
                    <a:lnTo>
                      <a:pt x="11647" y="8084"/>
                    </a:lnTo>
                    <a:lnTo>
                      <a:pt x="11635" y="8044"/>
                    </a:lnTo>
                    <a:lnTo>
                      <a:pt x="11622" y="8004"/>
                    </a:lnTo>
                    <a:lnTo>
                      <a:pt x="11607" y="7963"/>
                    </a:lnTo>
                    <a:lnTo>
                      <a:pt x="11590" y="7923"/>
                    </a:lnTo>
                    <a:lnTo>
                      <a:pt x="11572" y="7883"/>
                    </a:lnTo>
                    <a:lnTo>
                      <a:pt x="11551" y="7843"/>
                    </a:lnTo>
                    <a:lnTo>
                      <a:pt x="11528" y="7804"/>
                    </a:lnTo>
                    <a:lnTo>
                      <a:pt x="11505" y="7765"/>
                    </a:lnTo>
                    <a:lnTo>
                      <a:pt x="11479" y="7726"/>
                    </a:lnTo>
                    <a:lnTo>
                      <a:pt x="11452" y="7688"/>
                    </a:lnTo>
                    <a:lnTo>
                      <a:pt x="11422" y="7650"/>
                    </a:lnTo>
                    <a:lnTo>
                      <a:pt x="11392" y="7613"/>
                    </a:lnTo>
                    <a:lnTo>
                      <a:pt x="11360" y="7578"/>
                    </a:lnTo>
                    <a:lnTo>
                      <a:pt x="11326" y="7542"/>
                    </a:lnTo>
                    <a:lnTo>
                      <a:pt x="11361" y="7575"/>
                    </a:lnTo>
                    <a:lnTo>
                      <a:pt x="11397" y="7608"/>
                    </a:lnTo>
                    <a:lnTo>
                      <a:pt x="11433" y="7639"/>
                    </a:lnTo>
                    <a:lnTo>
                      <a:pt x="11471" y="7668"/>
                    </a:lnTo>
                    <a:lnTo>
                      <a:pt x="11509" y="7695"/>
                    </a:lnTo>
                    <a:lnTo>
                      <a:pt x="11547" y="7721"/>
                    </a:lnTo>
                    <a:lnTo>
                      <a:pt x="11586" y="7746"/>
                    </a:lnTo>
                    <a:lnTo>
                      <a:pt x="11626" y="7769"/>
                    </a:lnTo>
                    <a:lnTo>
                      <a:pt x="11665" y="7790"/>
                    </a:lnTo>
                    <a:lnTo>
                      <a:pt x="11705" y="7809"/>
                    </a:lnTo>
                    <a:lnTo>
                      <a:pt x="11743" y="7826"/>
                    </a:lnTo>
                    <a:lnTo>
                      <a:pt x="11783" y="7842"/>
                    </a:lnTo>
                    <a:lnTo>
                      <a:pt x="11823" y="7856"/>
                    </a:lnTo>
                    <a:lnTo>
                      <a:pt x="11863" y="7867"/>
                    </a:lnTo>
                    <a:lnTo>
                      <a:pt x="11902" y="7878"/>
                    </a:lnTo>
                    <a:lnTo>
                      <a:pt x="11941" y="7887"/>
                    </a:lnTo>
                    <a:lnTo>
                      <a:pt x="11980" y="7893"/>
                    </a:lnTo>
                    <a:lnTo>
                      <a:pt x="12019" y="7898"/>
                    </a:lnTo>
                    <a:lnTo>
                      <a:pt x="12057" y="7900"/>
                    </a:lnTo>
                    <a:lnTo>
                      <a:pt x="12095" y="7901"/>
                    </a:lnTo>
                    <a:lnTo>
                      <a:pt x="12132" y="7900"/>
                    </a:lnTo>
                    <a:lnTo>
                      <a:pt x="12168" y="7897"/>
                    </a:lnTo>
                    <a:lnTo>
                      <a:pt x="12204" y="7892"/>
                    </a:lnTo>
                    <a:lnTo>
                      <a:pt x="12239" y="7885"/>
                    </a:lnTo>
                    <a:lnTo>
                      <a:pt x="12272" y="7876"/>
                    </a:lnTo>
                    <a:lnTo>
                      <a:pt x="12306" y="7864"/>
                    </a:lnTo>
                    <a:lnTo>
                      <a:pt x="12337" y="7851"/>
                    </a:lnTo>
                    <a:lnTo>
                      <a:pt x="12367" y="7836"/>
                    </a:lnTo>
                    <a:lnTo>
                      <a:pt x="12398" y="7819"/>
                    </a:lnTo>
                    <a:lnTo>
                      <a:pt x="12426" y="7799"/>
                    </a:lnTo>
                    <a:lnTo>
                      <a:pt x="12453" y="7778"/>
                    </a:lnTo>
                    <a:lnTo>
                      <a:pt x="12479" y="7754"/>
                    </a:lnTo>
                    <a:lnTo>
                      <a:pt x="12500" y="7728"/>
                    </a:lnTo>
                    <a:lnTo>
                      <a:pt x="12522" y="7701"/>
                    </a:lnTo>
                    <a:lnTo>
                      <a:pt x="12540" y="7673"/>
                    </a:lnTo>
                    <a:lnTo>
                      <a:pt x="12558" y="7644"/>
                    </a:lnTo>
                    <a:lnTo>
                      <a:pt x="12572" y="7613"/>
                    </a:lnTo>
                    <a:lnTo>
                      <a:pt x="12585" y="7581"/>
                    </a:lnTo>
                    <a:lnTo>
                      <a:pt x="12597" y="7548"/>
                    </a:lnTo>
                    <a:lnTo>
                      <a:pt x="12605" y="7514"/>
                    </a:lnTo>
                    <a:lnTo>
                      <a:pt x="12613" y="7479"/>
                    </a:lnTo>
                    <a:lnTo>
                      <a:pt x="12618" y="7443"/>
                    </a:lnTo>
                    <a:lnTo>
                      <a:pt x="12621" y="7408"/>
                    </a:lnTo>
                    <a:lnTo>
                      <a:pt x="12624" y="7371"/>
                    </a:lnTo>
                    <a:lnTo>
                      <a:pt x="12623" y="7333"/>
                    </a:lnTo>
                    <a:lnTo>
                      <a:pt x="12620" y="7295"/>
                    </a:lnTo>
                    <a:lnTo>
                      <a:pt x="12617" y="7256"/>
                    </a:lnTo>
                    <a:lnTo>
                      <a:pt x="12611" y="7217"/>
                    </a:lnTo>
                    <a:lnTo>
                      <a:pt x="12603" y="7177"/>
                    </a:lnTo>
                    <a:lnTo>
                      <a:pt x="12593" y="7138"/>
                    </a:lnTo>
                    <a:lnTo>
                      <a:pt x="12581" y="7098"/>
                    </a:lnTo>
                    <a:lnTo>
                      <a:pt x="12568" y="7059"/>
                    </a:lnTo>
                    <a:lnTo>
                      <a:pt x="12553" y="7019"/>
                    </a:lnTo>
                    <a:lnTo>
                      <a:pt x="12536" y="6979"/>
                    </a:lnTo>
                    <a:lnTo>
                      <a:pt x="12518" y="6939"/>
                    </a:lnTo>
                    <a:lnTo>
                      <a:pt x="12497" y="6900"/>
                    </a:lnTo>
                    <a:lnTo>
                      <a:pt x="12474" y="6861"/>
                    </a:lnTo>
                    <a:lnTo>
                      <a:pt x="12451" y="6822"/>
                    </a:lnTo>
                    <a:lnTo>
                      <a:pt x="12424" y="6783"/>
                    </a:lnTo>
                    <a:lnTo>
                      <a:pt x="12397" y="6746"/>
                    </a:lnTo>
                    <a:lnTo>
                      <a:pt x="12366" y="6709"/>
                    </a:lnTo>
                    <a:lnTo>
                      <a:pt x="12335" y="6672"/>
                    </a:lnTo>
                    <a:lnTo>
                      <a:pt x="12301" y="6636"/>
                    </a:lnTo>
                    <a:lnTo>
                      <a:pt x="12267" y="6601"/>
                    </a:lnTo>
                    <a:lnTo>
                      <a:pt x="12302" y="6635"/>
                    </a:lnTo>
                    <a:lnTo>
                      <a:pt x="12339" y="6667"/>
                    </a:lnTo>
                    <a:lnTo>
                      <a:pt x="12377" y="6698"/>
                    </a:lnTo>
                    <a:lnTo>
                      <a:pt x="12415" y="6727"/>
                    </a:lnTo>
                    <a:lnTo>
                      <a:pt x="12454" y="6754"/>
                    </a:lnTo>
                    <a:lnTo>
                      <a:pt x="12493" y="6780"/>
                    </a:lnTo>
                    <a:lnTo>
                      <a:pt x="12532" y="6804"/>
                    </a:lnTo>
                    <a:lnTo>
                      <a:pt x="12572" y="6826"/>
                    </a:lnTo>
                    <a:lnTo>
                      <a:pt x="12611" y="6846"/>
                    </a:lnTo>
                    <a:lnTo>
                      <a:pt x="12651" y="6865"/>
                    </a:lnTo>
                    <a:lnTo>
                      <a:pt x="12691" y="6882"/>
                    </a:lnTo>
                    <a:lnTo>
                      <a:pt x="12730" y="6897"/>
                    </a:lnTo>
                    <a:lnTo>
                      <a:pt x="12770" y="6911"/>
                    </a:lnTo>
                    <a:lnTo>
                      <a:pt x="12808" y="6922"/>
                    </a:lnTo>
                    <a:lnTo>
                      <a:pt x="12848" y="6933"/>
                    </a:lnTo>
                    <a:lnTo>
                      <a:pt x="12887" y="6940"/>
                    </a:lnTo>
                    <a:lnTo>
                      <a:pt x="12926" y="6947"/>
                    </a:lnTo>
                    <a:lnTo>
                      <a:pt x="12964" y="6951"/>
                    </a:lnTo>
                    <a:lnTo>
                      <a:pt x="13002" y="6953"/>
                    </a:lnTo>
                    <a:lnTo>
                      <a:pt x="13039" y="6954"/>
                    </a:lnTo>
                    <a:lnTo>
                      <a:pt x="13076" y="6953"/>
                    </a:lnTo>
                    <a:lnTo>
                      <a:pt x="13111" y="6950"/>
                    </a:lnTo>
                    <a:lnTo>
                      <a:pt x="13147" y="6945"/>
                    </a:lnTo>
                    <a:lnTo>
                      <a:pt x="13180" y="6938"/>
                    </a:lnTo>
                    <a:lnTo>
                      <a:pt x="13214" y="6929"/>
                    </a:lnTo>
                    <a:lnTo>
                      <a:pt x="13246" y="6919"/>
                    </a:lnTo>
                    <a:lnTo>
                      <a:pt x="13279" y="6906"/>
                    </a:lnTo>
                    <a:lnTo>
                      <a:pt x="13309" y="6892"/>
                    </a:lnTo>
                    <a:lnTo>
                      <a:pt x="13338" y="6874"/>
                    </a:lnTo>
                    <a:lnTo>
                      <a:pt x="13366" y="6856"/>
                    </a:lnTo>
                    <a:lnTo>
                      <a:pt x="13393" y="6835"/>
                    </a:lnTo>
                    <a:lnTo>
                      <a:pt x="13418" y="6813"/>
                    </a:lnTo>
                    <a:lnTo>
                      <a:pt x="13442" y="6787"/>
                    </a:lnTo>
                    <a:lnTo>
                      <a:pt x="13464" y="6761"/>
                    </a:lnTo>
                    <a:lnTo>
                      <a:pt x="13484" y="6732"/>
                    </a:lnTo>
                    <a:lnTo>
                      <a:pt x="13502" y="6702"/>
                    </a:lnTo>
                    <a:lnTo>
                      <a:pt x="13517" y="6672"/>
                    </a:lnTo>
                    <a:lnTo>
                      <a:pt x="13531" y="6640"/>
                    </a:lnTo>
                    <a:lnTo>
                      <a:pt x="13542" y="6607"/>
                    </a:lnTo>
                    <a:lnTo>
                      <a:pt x="13551" y="6572"/>
                    </a:lnTo>
                    <a:lnTo>
                      <a:pt x="13559" y="6538"/>
                    </a:lnTo>
                    <a:lnTo>
                      <a:pt x="13564" y="6502"/>
                    </a:lnTo>
                    <a:lnTo>
                      <a:pt x="13568" y="6466"/>
                    </a:lnTo>
                    <a:lnTo>
                      <a:pt x="13570" y="6430"/>
                    </a:lnTo>
                    <a:lnTo>
                      <a:pt x="13569" y="6392"/>
                    </a:lnTo>
                    <a:lnTo>
                      <a:pt x="13566" y="6354"/>
                    </a:lnTo>
                    <a:lnTo>
                      <a:pt x="13562" y="6315"/>
                    </a:lnTo>
                    <a:lnTo>
                      <a:pt x="13557" y="6276"/>
                    </a:lnTo>
                    <a:lnTo>
                      <a:pt x="13548" y="6237"/>
                    </a:lnTo>
                    <a:lnTo>
                      <a:pt x="13538" y="6197"/>
                    </a:lnTo>
                    <a:lnTo>
                      <a:pt x="13526" y="6157"/>
                    </a:lnTo>
                    <a:lnTo>
                      <a:pt x="13512" y="6118"/>
                    </a:lnTo>
                    <a:lnTo>
                      <a:pt x="13497" y="6078"/>
                    </a:lnTo>
                    <a:lnTo>
                      <a:pt x="13480" y="6038"/>
                    </a:lnTo>
                    <a:lnTo>
                      <a:pt x="13460" y="5999"/>
                    </a:lnTo>
                    <a:lnTo>
                      <a:pt x="13439" y="5959"/>
                    </a:lnTo>
                    <a:lnTo>
                      <a:pt x="13416" y="5920"/>
                    </a:lnTo>
                    <a:lnTo>
                      <a:pt x="13391" y="5881"/>
                    </a:lnTo>
                    <a:lnTo>
                      <a:pt x="13365" y="5843"/>
                    </a:lnTo>
                    <a:lnTo>
                      <a:pt x="13337" y="5805"/>
                    </a:lnTo>
                    <a:lnTo>
                      <a:pt x="13307" y="5768"/>
                    </a:lnTo>
                    <a:lnTo>
                      <a:pt x="13276" y="5731"/>
                    </a:lnTo>
                    <a:lnTo>
                      <a:pt x="13242" y="5695"/>
                    </a:lnTo>
                    <a:lnTo>
                      <a:pt x="13206" y="5659"/>
                    </a:lnTo>
                    <a:lnTo>
                      <a:pt x="10358" y="2810"/>
                    </a:lnTo>
                    <a:lnTo>
                      <a:pt x="9485" y="3672"/>
                    </a:lnTo>
                    <a:lnTo>
                      <a:pt x="9436" y="3720"/>
                    </a:lnTo>
                    <a:lnTo>
                      <a:pt x="9383" y="3770"/>
                    </a:lnTo>
                    <a:lnTo>
                      <a:pt x="9326" y="3822"/>
                    </a:lnTo>
                    <a:lnTo>
                      <a:pt x="9264" y="3875"/>
                    </a:lnTo>
                    <a:lnTo>
                      <a:pt x="9198" y="3928"/>
                    </a:lnTo>
                    <a:lnTo>
                      <a:pt x="9128" y="3981"/>
                    </a:lnTo>
                    <a:lnTo>
                      <a:pt x="9052" y="4033"/>
                    </a:lnTo>
                    <a:lnTo>
                      <a:pt x="8973" y="4083"/>
                    </a:lnTo>
                    <a:lnTo>
                      <a:pt x="8890" y="4131"/>
                    </a:lnTo>
                    <a:lnTo>
                      <a:pt x="8802" y="4176"/>
                    </a:lnTo>
                    <a:lnTo>
                      <a:pt x="8711" y="4217"/>
                    </a:lnTo>
                    <a:lnTo>
                      <a:pt x="8614" y="4255"/>
                    </a:lnTo>
                    <a:lnTo>
                      <a:pt x="8514" y="4288"/>
                    </a:lnTo>
                    <a:lnTo>
                      <a:pt x="8409" y="4315"/>
                    </a:lnTo>
                    <a:lnTo>
                      <a:pt x="8301" y="4336"/>
                    </a:lnTo>
                    <a:lnTo>
                      <a:pt x="8188" y="4350"/>
                    </a:lnTo>
                    <a:lnTo>
                      <a:pt x="8072" y="4358"/>
                    </a:lnTo>
                    <a:lnTo>
                      <a:pt x="7950" y="4358"/>
                    </a:lnTo>
                    <a:lnTo>
                      <a:pt x="7826" y="4349"/>
                    </a:lnTo>
                    <a:lnTo>
                      <a:pt x="7699" y="4331"/>
                    </a:lnTo>
                    <a:lnTo>
                      <a:pt x="7566" y="4304"/>
                    </a:lnTo>
                    <a:lnTo>
                      <a:pt x="7430" y="4266"/>
                    </a:lnTo>
                    <a:lnTo>
                      <a:pt x="7290" y="4216"/>
                    </a:lnTo>
                    <a:lnTo>
                      <a:pt x="7147" y="4157"/>
                    </a:lnTo>
                    <a:lnTo>
                      <a:pt x="7000" y="4083"/>
                    </a:lnTo>
                    <a:lnTo>
                      <a:pt x="6849" y="3998"/>
                    </a:lnTo>
                    <a:lnTo>
                      <a:pt x="6694" y="3899"/>
                    </a:lnTo>
                    <a:lnTo>
                      <a:pt x="6536" y="3786"/>
                    </a:lnTo>
                    <a:lnTo>
                      <a:pt x="6374" y="3658"/>
                    </a:lnTo>
                    <a:lnTo>
                      <a:pt x="6209" y="3515"/>
                    </a:lnTo>
                    <a:lnTo>
                      <a:pt x="6040" y="3356"/>
                    </a:lnTo>
                    <a:lnTo>
                      <a:pt x="5868" y="3181"/>
                    </a:lnTo>
                    <a:lnTo>
                      <a:pt x="8266" y="795"/>
                    </a:lnTo>
                    <a:lnTo>
                      <a:pt x="7842" y="371"/>
                    </a:lnTo>
                    <a:lnTo>
                      <a:pt x="7827" y="358"/>
                    </a:lnTo>
                    <a:lnTo>
                      <a:pt x="7807" y="343"/>
                    </a:lnTo>
                    <a:lnTo>
                      <a:pt x="7794" y="334"/>
                    </a:lnTo>
                    <a:lnTo>
                      <a:pt x="7781" y="327"/>
                    </a:lnTo>
                    <a:lnTo>
                      <a:pt x="7767" y="318"/>
                    </a:lnTo>
                    <a:lnTo>
                      <a:pt x="7750" y="311"/>
                    </a:lnTo>
                    <a:lnTo>
                      <a:pt x="7734" y="303"/>
                    </a:lnTo>
                    <a:lnTo>
                      <a:pt x="7716" y="295"/>
                    </a:lnTo>
                    <a:lnTo>
                      <a:pt x="7697" y="288"/>
                    </a:lnTo>
                    <a:lnTo>
                      <a:pt x="7677" y="281"/>
                    </a:lnTo>
                    <a:lnTo>
                      <a:pt x="7656" y="275"/>
                    </a:lnTo>
                    <a:lnTo>
                      <a:pt x="7635" y="269"/>
                    </a:lnTo>
                    <a:lnTo>
                      <a:pt x="7612" y="265"/>
                    </a:lnTo>
                    <a:lnTo>
                      <a:pt x="7588" y="262"/>
                    </a:lnTo>
                    <a:lnTo>
                      <a:pt x="7564" y="260"/>
                    </a:lnTo>
                    <a:lnTo>
                      <a:pt x="7540" y="257"/>
                    </a:lnTo>
                    <a:lnTo>
                      <a:pt x="7514" y="257"/>
                    </a:lnTo>
                    <a:lnTo>
                      <a:pt x="7487" y="259"/>
                    </a:lnTo>
                    <a:lnTo>
                      <a:pt x="7460" y="261"/>
                    </a:lnTo>
                    <a:lnTo>
                      <a:pt x="7431" y="265"/>
                    </a:lnTo>
                    <a:lnTo>
                      <a:pt x="7403" y="270"/>
                    </a:lnTo>
                    <a:lnTo>
                      <a:pt x="7374" y="278"/>
                    </a:lnTo>
                    <a:lnTo>
                      <a:pt x="7345" y="287"/>
                    </a:lnTo>
                    <a:lnTo>
                      <a:pt x="7315" y="299"/>
                    </a:lnTo>
                    <a:lnTo>
                      <a:pt x="7284" y="312"/>
                    </a:lnTo>
                    <a:lnTo>
                      <a:pt x="7253" y="327"/>
                    </a:lnTo>
                    <a:lnTo>
                      <a:pt x="7223" y="344"/>
                    </a:lnTo>
                    <a:lnTo>
                      <a:pt x="7190" y="364"/>
                    </a:lnTo>
                    <a:lnTo>
                      <a:pt x="7159" y="386"/>
                    </a:lnTo>
                    <a:lnTo>
                      <a:pt x="7127" y="411"/>
                    </a:lnTo>
                    <a:lnTo>
                      <a:pt x="5537" y="1802"/>
                    </a:lnTo>
                    <a:lnTo>
                      <a:pt x="0" y="1802"/>
                    </a:lnTo>
                    <a:lnTo>
                      <a:pt x="0" y="6045"/>
                    </a:lnTo>
                    <a:lnTo>
                      <a:pt x="3431" y="6045"/>
                    </a:lnTo>
                    <a:lnTo>
                      <a:pt x="3437" y="6003"/>
                    </a:lnTo>
                    <a:lnTo>
                      <a:pt x="3445" y="5961"/>
                    </a:lnTo>
                    <a:lnTo>
                      <a:pt x="3454" y="5920"/>
                    </a:lnTo>
                    <a:lnTo>
                      <a:pt x="3463" y="5878"/>
                    </a:lnTo>
                    <a:lnTo>
                      <a:pt x="3474" y="5837"/>
                    </a:lnTo>
                    <a:lnTo>
                      <a:pt x="3485" y="5795"/>
                    </a:lnTo>
                    <a:lnTo>
                      <a:pt x="3497" y="5752"/>
                    </a:lnTo>
                    <a:lnTo>
                      <a:pt x="3511" y="5710"/>
                    </a:lnTo>
                    <a:lnTo>
                      <a:pt x="3525" y="5668"/>
                    </a:lnTo>
                    <a:lnTo>
                      <a:pt x="3540" y="5627"/>
                    </a:lnTo>
                    <a:lnTo>
                      <a:pt x="3556" y="5585"/>
                    </a:lnTo>
                    <a:lnTo>
                      <a:pt x="3574" y="5543"/>
                    </a:lnTo>
                    <a:lnTo>
                      <a:pt x="3591" y="5500"/>
                    </a:lnTo>
                    <a:lnTo>
                      <a:pt x="3610" y="5458"/>
                    </a:lnTo>
                    <a:lnTo>
                      <a:pt x="3630" y="5416"/>
                    </a:lnTo>
                    <a:lnTo>
                      <a:pt x="3651" y="5375"/>
                    </a:lnTo>
                    <a:lnTo>
                      <a:pt x="3673" y="5333"/>
                    </a:lnTo>
                    <a:lnTo>
                      <a:pt x="3696" y="5292"/>
                    </a:lnTo>
                    <a:lnTo>
                      <a:pt x="3720" y="5250"/>
                    </a:lnTo>
                    <a:lnTo>
                      <a:pt x="3744" y="5209"/>
                    </a:lnTo>
                    <a:lnTo>
                      <a:pt x="3770" y="5169"/>
                    </a:lnTo>
                    <a:lnTo>
                      <a:pt x="3797" y="5128"/>
                    </a:lnTo>
                    <a:lnTo>
                      <a:pt x="3824" y="5088"/>
                    </a:lnTo>
                    <a:lnTo>
                      <a:pt x="3854" y="5049"/>
                    </a:lnTo>
                    <a:lnTo>
                      <a:pt x="3884" y="5009"/>
                    </a:lnTo>
                    <a:lnTo>
                      <a:pt x="3914" y="4970"/>
                    </a:lnTo>
                    <a:lnTo>
                      <a:pt x="3945" y="4931"/>
                    </a:lnTo>
                    <a:lnTo>
                      <a:pt x="3979" y="4893"/>
                    </a:lnTo>
                    <a:lnTo>
                      <a:pt x="4013" y="4856"/>
                    </a:lnTo>
                    <a:lnTo>
                      <a:pt x="4047" y="4819"/>
                    </a:lnTo>
                    <a:lnTo>
                      <a:pt x="4083" y="4782"/>
                    </a:lnTo>
                    <a:lnTo>
                      <a:pt x="4120" y="4745"/>
                    </a:lnTo>
                    <a:lnTo>
                      <a:pt x="4193" y="4674"/>
                    </a:lnTo>
                    <a:lnTo>
                      <a:pt x="4268" y="4606"/>
                    </a:lnTo>
                    <a:lnTo>
                      <a:pt x="4343" y="4542"/>
                    </a:lnTo>
                    <a:lnTo>
                      <a:pt x="4421" y="4481"/>
                    </a:lnTo>
                    <a:lnTo>
                      <a:pt x="4500" y="4424"/>
                    </a:lnTo>
                    <a:lnTo>
                      <a:pt x="4580" y="4371"/>
                    </a:lnTo>
                    <a:lnTo>
                      <a:pt x="4660" y="4321"/>
                    </a:lnTo>
                    <a:lnTo>
                      <a:pt x="4742" y="4275"/>
                    </a:lnTo>
                    <a:lnTo>
                      <a:pt x="4825" y="4232"/>
                    </a:lnTo>
                    <a:lnTo>
                      <a:pt x="4907" y="4194"/>
                    </a:lnTo>
                    <a:lnTo>
                      <a:pt x="4990" y="4160"/>
                    </a:lnTo>
                    <a:lnTo>
                      <a:pt x="5073" y="4128"/>
                    </a:lnTo>
                    <a:lnTo>
                      <a:pt x="5156" y="4101"/>
                    </a:lnTo>
                    <a:lnTo>
                      <a:pt x="5240" y="4079"/>
                    </a:lnTo>
                    <a:lnTo>
                      <a:pt x="5322" y="4059"/>
                    </a:lnTo>
                    <a:lnTo>
                      <a:pt x="5404" y="4044"/>
                    </a:lnTo>
                    <a:lnTo>
                      <a:pt x="5486" y="4033"/>
                    </a:lnTo>
                    <a:lnTo>
                      <a:pt x="5567" y="4026"/>
                    </a:lnTo>
                    <a:lnTo>
                      <a:pt x="5647" y="4022"/>
                    </a:lnTo>
                    <a:lnTo>
                      <a:pt x="5726" y="4022"/>
                    </a:lnTo>
                    <a:lnTo>
                      <a:pt x="5803" y="4027"/>
                    </a:lnTo>
                    <a:lnTo>
                      <a:pt x="5880" y="4035"/>
                    </a:lnTo>
                    <a:lnTo>
                      <a:pt x="5954" y="4048"/>
                    </a:lnTo>
                    <a:lnTo>
                      <a:pt x="6027" y="4065"/>
                    </a:lnTo>
                    <a:lnTo>
                      <a:pt x="6098" y="4085"/>
                    </a:lnTo>
                    <a:lnTo>
                      <a:pt x="6167" y="4110"/>
                    </a:lnTo>
                    <a:lnTo>
                      <a:pt x="6234" y="4139"/>
                    </a:lnTo>
                    <a:lnTo>
                      <a:pt x="6298" y="4173"/>
                    </a:lnTo>
                    <a:lnTo>
                      <a:pt x="6361" y="4210"/>
                    </a:lnTo>
                    <a:lnTo>
                      <a:pt x="6420" y="4252"/>
                    </a:lnTo>
                    <a:lnTo>
                      <a:pt x="6477" y="4297"/>
                    </a:lnTo>
                    <a:lnTo>
                      <a:pt x="6531" y="4347"/>
                    </a:lnTo>
                    <a:lnTo>
                      <a:pt x="6562" y="4383"/>
                    </a:lnTo>
                    <a:lnTo>
                      <a:pt x="6592" y="4418"/>
                    </a:lnTo>
                    <a:lnTo>
                      <a:pt x="6620" y="4456"/>
                    </a:lnTo>
                    <a:lnTo>
                      <a:pt x="6648" y="4494"/>
                    </a:lnTo>
                    <a:lnTo>
                      <a:pt x="6672" y="4533"/>
                    </a:lnTo>
                    <a:lnTo>
                      <a:pt x="6696" y="4573"/>
                    </a:lnTo>
                    <a:lnTo>
                      <a:pt x="6719" y="4614"/>
                    </a:lnTo>
                    <a:lnTo>
                      <a:pt x="6739" y="4655"/>
                    </a:lnTo>
                    <a:lnTo>
                      <a:pt x="6758" y="4699"/>
                    </a:lnTo>
                    <a:lnTo>
                      <a:pt x="6776" y="4742"/>
                    </a:lnTo>
                    <a:lnTo>
                      <a:pt x="6791" y="4786"/>
                    </a:lnTo>
                    <a:lnTo>
                      <a:pt x="6806" y="4832"/>
                    </a:lnTo>
                    <a:lnTo>
                      <a:pt x="6819" y="4878"/>
                    </a:lnTo>
                    <a:lnTo>
                      <a:pt x="6830" y="4926"/>
                    </a:lnTo>
                    <a:lnTo>
                      <a:pt x="6840" y="4975"/>
                    </a:lnTo>
                    <a:lnTo>
                      <a:pt x="6849" y="5023"/>
                    </a:lnTo>
                    <a:lnTo>
                      <a:pt x="6895" y="5030"/>
                    </a:lnTo>
                    <a:lnTo>
                      <a:pt x="6942" y="5037"/>
                    </a:lnTo>
                    <a:lnTo>
                      <a:pt x="6987" y="5047"/>
                    </a:lnTo>
                    <a:lnTo>
                      <a:pt x="7032" y="5058"/>
                    </a:lnTo>
                    <a:lnTo>
                      <a:pt x="7076" y="5072"/>
                    </a:lnTo>
                    <a:lnTo>
                      <a:pt x="7120" y="5087"/>
                    </a:lnTo>
                    <a:lnTo>
                      <a:pt x="7162" y="5104"/>
                    </a:lnTo>
                    <a:lnTo>
                      <a:pt x="7204" y="5123"/>
                    </a:lnTo>
                    <a:lnTo>
                      <a:pt x="7245" y="5143"/>
                    </a:lnTo>
                    <a:lnTo>
                      <a:pt x="7287" y="5166"/>
                    </a:lnTo>
                    <a:lnTo>
                      <a:pt x="7325" y="5191"/>
                    </a:lnTo>
                    <a:lnTo>
                      <a:pt x="7364" y="5217"/>
                    </a:lnTo>
                    <a:lnTo>
                      <a:pt x="7402" y="5246"/>
                    </a:lnTo>
                    <a:lnTo>
                      <a:pt x="7439" y="5275"/>
                    </a:lnTo>
                    <a:lnTo>
                      <a:pt x="7476" y="5308"/>
                    </a:lnTo>
                    <a:lnTo>
                      <a:pt x="7510" y="5341"/>
                    </a:lnTo>
                    <a:lnTo>
                      <a:pt x="7543" y="5375"/>
                    </a:lnTo>
                    <a:lnTo>
                      <a:pt x="7572" y="5408"/>
                    </a:lnTo>
                    <a:lnTo>
                      <a:pt x="7601" y="5444"/>
                    </a:lnTo>
                    <a:lnTo>
                      <a:pt x="7627" y="5481"/>
                    </a:lnTo>
                    <a:lnTo>
                      <a:pt x="7653" y="5519"/>
                    </a:lnTo>
                    <a:lnTo>
                      <a:pt x="7677" y="5557"/>
                    </a:lnTo>
                    <a:lnTo>
                      <a:pt x="7699" y="5597"/>
                    </a:lnTo>
                    <a:lnTo>
                      <a:pt x="7719" y="5638"/>
                    </a:lnTo>
                    <a:lnTo>
                      <a:pt x="7739" y="5680"/>
                    </a:lnTo>
                    <a:lnTo>
                      <a:pt x="7756" y="5723"/>
                    </a:lnTo>
                    <a:lnTo>
                      <a:pt x="7772" y="5768"/>
                    </a:lnTo>
                    <a:lnTo>
                      <a:pt x="7786" y="5813"/>
                    </a:lnTo>
                    <a:lnTo>
                      <a:pt x="7799" y="5860"/>
                    </a:lnTo>
                    <a:lnTo>
                      <a:pt x="7811" y="5907"/>
                    </a:lnTo>
                    <a:lnTo>
                      <a:pt x="7821" y="5955"/>
                    </a:lnTo>
                    <a:lnTo>
                      <a:pt x="7828" y="6004"/>
                    </a:lnTo>
                    <a:close/>
                  </a:path>
                </a:pathLst>
              </a:custGeom>
              <a:no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47" name="Flowchart: Connector 46">
                <a:extLst>
                  <a:ext uri="{FF2B5EF4-FFF2-40B4-BE49-F238E27FC236}">
                    <a16:creationId xmlns:a16="http://schemas.microsoft.com/office/drawing/2014/main" id="{DB40776F-B9F0-4BAA-B128-68A3459BB84D}"/>
                  </a:ext>
                </a:extLst>
              </p:cNvPr>
              <p:cNvSpPr>
                <a:spLocks noChangeAspect="1"/>
              </p:cNvSpPr>
              <p:nvPr/>
            </p:nvSpPr>
            <p:spPr>
              <a:xfrm>
                <a:off x="6135129" y="1699307"/>
                <a:ext cx="36576" cy="36576"/>
              </a:xfrm>
              <a:prstGeom prst="flowChartConnector">
                <a:avLst/>
              </a:prstGeom>
              <a:solidFill>
                <a:schemeClr val="bg1"/>
              </a:solidFill>
              <a:ln w="19050">
                <a:solidFill>
                  <a:srgbClr val="64636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41" name="Rectangle 40">
              <a:extLst>
                <a:ext uri="{FF2B5EF4-FFF2-40B4-BE49-F238E27FC236}">
                  <a16:creationId xmlns:a16="http://schemas.microsoft.com/office/drawing/2014/main" id="{EBF2B7F9-24A1-4DC3-9825-E171AAD01254}"/>
                </a:ext>
              </a:extLst>
            </p:cNvPr>
            <p:cNvSpPr/>
            <p:nvPr/>
          </p:nvSpPr>
          <p:spPr>
            <a:xfrm>
              <a:off x="2594586" y="4361442"/>
              <a:ext cx="1117689" cy="430887"/>
            </a:xfrm>
            <a:prstGeom prst="rect">
              <a:avLst/>
            </a:prstGeom>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Spirit of Wipro fundraising</a:t>
              </a:r>
            </a:p>
          </p:txBody>
        </p:sp>
        <p:sp>
          <p:nvSpPr>
            <p:cNvPr id="42" name="Rectangle 41">
              <a:extLst>
                <a:ext uri="{FF2B5EF4-FFF2-40B4-BE49-F238E27FC236}">
                  <a16:creationId xmlns:a16="http://schemas.microsoft.com/office/drawing/2014/main" id="{73DD9512-D6F9-4144-AA09-CC5D3C125079}"/>
                </a:ext>
              </a:extLst>
            </p:cNvPr>
            <p:cNvSpPr/>
            <p:nvPr/>
          </p:nvSpPr>
          <p:spPr>
            <a:xfrm>
              <a:off x="4207108" y="4361443"/>
              <a:ext cx="1115409" cy="430887"/>
            </a:xfrm>
            <a:prstGeom prst="rect">
              <a:avLst/>
            </a:prstGeom>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First Book Partnership</a:t>
              </a:r>
            </a:p>
          </p:txBody>
        </p:sp>
        <p:sp>
          <p:nvSpPr>
            <p:cNvPr id="43" name="Rectangle 42">
              <a:extLst>
                <a:ext uri="{FF2B5EF4-FFF2-40B4-BE49-F238E27FC236}">
                  <a16:creationId xmlns:a16="http://schemas.microsoft.com/office/drawing/2014/main" id="{EA1CCD68-3227-4FC5-B1E3-13472AC0660C}"/>
                </a:ext>
              </a:extLst>
            </p:cNvPr>
            <p:cNvSpPr/>
            <p:nvPr/>
          </p:nvSpPr>
          <p:spPr>
            <a:xfrm>
              <a:off x="5846489" y="4361442"/>
              <a:ext cx="1334638" cy="430887"/>
            </a:xfrm>
            <a:prstGeom prst="rect">
              <a:avLst/>
            </a:prstGeom>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illion women mentors initiative</a:t>
              </a:r>
            </a:p>
          </p:txBody>
        </p:sp>
        <p:sp>
          <p:nvSpPr>
            <p:cNvPr id="44" name="Rectangle 43">
              <a:extLst>
                <a:ext uri="{FF2B5EF4-FFF2-40B4-BE49-F238E27FC236}">
                  <a16:creationId xmlns:a16="http://schemas.microsoft.com/office/drawing/2014/main" id="{BE238EDC-7D54-404D-896B-5093153BEB32}"/>
                </a:ext>
              </a:extLst>
            </p:cNvPr>
            <p:cNvSpPr/>
            <p:nvPr/>
          </p:nvSpPr>
          <p:spPr>
            <a:xfrm>
              <a:off x="7611926" y="4192166"/>
              <a:ext cx="1219201" cy="769441"/>
            </a:xfrm>
            <a:prstGeom prst="rect">
              <a:avLst/>
            </a:prstGeom>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Science Education Fellowship program</a:t>
              </a:r>
            </a:p>
          </p:txBody>
        </p:sp>
      </p:grpSp>
    </p:spTree>
    <p:extLst>
      <p:ext uri="{BB962C8B-B14F-4D97-AF65-F5344CB8AC3E}">
        <p14:creationId xmlns:p14="http://schemas.microsoft.com/office/powerpoint/2010/main" val="3368304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view of a city street&#10;&#10;Description automatically generated">
            <a:extLst>
              <a:ext uri="{FF2B5EF4-FFF2-40B4-BE49-F238E27FC236}">
                <a16:creationId xmlns:a16="http://schemas.microsoft.com/office/drawing/2014/main" id="{1B6FAD2B-E6B7-DF44-A9AB-2E67C032A36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2" name="Title 6">
            <a:extLst>
              <a:ext uri="{FF2B5EF4-FFF2-40B4-BE49-F238E27FC236}">
                <a16:creationId xmlns:a16="http://schemas.microsoft.com/office/drawing/2014/main" id="{F063F71D-7E18-4466-BC5B-6A3158EA1FCD}"/>
              </a:ext>
            </a:extLst>
          </p:cNvPr>
          <p:cNvSpPr>
            <a:spLocks noGrp="1"/>
          </p:cNvSpPr>
          <p:nvPr>
            <p:ph type="title"/>
          </p:nvPr>
        </p:nvSpPr>
        <p:spPr>
          <a:xfrm>
            <a:off x="1" y="576682"/>
            <a:ext cx="9143999" cy="769797"/>
          </a:xfrm>
          <a:solidFill>
            <a:srgbClr val="343433"/>
          </a:solidFill>
        </p:spPr>
        <p:txBody>
          <a:bodyPr/>
          <a:lstStyle/>
          <a:p>
            <a:pPr>
              <a:lnSpc>
                <a:spcPct val="150000"/>
              </a:lnSpc>
            </a:pPr>
            <a:r>
              <a:rPr lang="en-AU" sz="3000" dirty="0" smtClean="0">
                <a:solidFill>
                  <a:schemeClr val="bg1"/>
                </a:solidFill>
              </a:rPr>
              <a:t>The transformation to an Intelligent Enterprise</a:t>
            </a:r>
            <a:endParaRPr lang="en-AU" sz="3000" dirty="0">
              <a:solidFill>
                <a:schemeClr val="bg1"/>
              </a:solidFill>
            </a:endParaRPr>
          </a:p>
        </p:txBody>
      </p:sp>
    </p:spTree>
    <p:extLst>
      <p:ext uri="{BB962C8B-B14F-4D97-AF65-F5344CB8AC3E}">
        <p14:creationId xmlns:p14="http://schemas.microsoft.com/office/powerpoint/2010/main" val="3268816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4590661" cy="5143500"/>
          </a:xfrm>
          <a:prstGeom prst="rect">
            <a:avLst/>
          </a:prstGeom>
          <a:solidFill>
            <a:schemeClr val="tx1">
              <a:alpha val="31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7"/>
          <p:cNvSpPr>
            <a:spLocks noGrp="1"/>
          </p:cNvSpPr>
          <p:nvPr>
            <p:ph type="title"/>
          </p:nvPr>
        </p:nvSpPr>
        <p:spPr>
          <a:xfrm>
            <a:off x="4646644" y="256924"/>
            <a:ext cx="4213226" cy="916783"/>
          </a:xfrm>
        </p:spPr>
        <p:txBody>
          <a:bodyPr/>
          <a:lstStyle/>
          <a:p>
            <a:r>
              <a:rPr lang="en-US" sz="2800" dirty="0"/>
              <a:t>Transforming to an </a:t>
            </a:r>
            <a:r>
              <a:rPr lang="en-US" sz="2800" dirty="0" smtClean="0"/>
              <a:t/>
            </a:r>
            <a:br>
              <a:rPr lang="en-US" sz="2800" dirty="0" smtClean="0"/>
            </a:br>
            <a:r>
              <a:rPr lang="en-US" sz="2800" dirty="0" smtClean="0"/>
              <a:t>Intelligent Enterprise</a:t>
            </a:r>
            <a:r>
              <a:rPr lang="en-US" sz="2800" dirty="0"/>
              <a:t/>
            </a:r>
            <a:br>
              <a:rPr lang="en-US" sz="2800" dirty="0"/>
            </a:br>
            <a:endParaRPr lang="en-US" sz="2800" dirty="0"/>
          </a:p>
        </p:txBody>
      </p:sp>
      <p:sp>
        <p:nvSpPr>
          <p:cNvPr id="7" name="01">
            <a:extLst>
              <a:ext uri="{FF2B5EF4-FFF2-40B4-BE49-F238E27FC236}">
                <a16:creationId xmlns:a16="http://schemas.microsoft.com/office/drawing/2014/main" id="{A69023BE-D62A-D34C-AD26-C912D45A0F6A}"/>
              </a:ext>
            </a:extLst>
          </p:cNvPr>
          <p:cNvSpPr txBox="1">
            <a:spLocks/>
          </p:cNvSpPr>
          <p:nvPr/>
        </p:nvSpPr>
        <p:spPr>
          <a:xfrm>
            <a:off x="5296403" y="3401056"/>
            <a:ext cx="2913707" cy="306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marL="0" marR="0" indent="0" algn="l" defTabSz="647700" eaLnBrk="1" latinLnBrk="0" hangingPunct="1">
              <a:lnSpc>
                <a:spcPct val="90000"/>
              </a:lnSpc>
              <a:spcBef>
                <a:spcPts val="0"/>
              </a:spcBef>
              <a:spcAft>
                <a:spcPts val="0"/>
              </a:spcAft>
              <a:buClrTx/>
              <a:buSzTx/>
              <a:buFontTx/>
              <a:buNone/>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100000" b="0" i="0" u="none" strike="noStrike" cap="none" spc="-2000" baseline="0">
                <a:ln>
                  <a:noFill/>
                </a:ln>
                <a:solidFill>
                  <a:schemeClr val="accent6">
                    <a:lumOff val="100000"/>
                  </a:schemeClr>
                </a:solidFill>
                <a:uFillTx/>
                <a:latin typeface="Helvetica Neue LT Std 85 Heavy"/>
                <a:ea typeface="Helvetica Neue LT Std 85 Heavy"/>
                <a:cs typeface="Helvetica Neue LT Std 85 Heavy"/>
                <a:sym typeface="Helvetica Neue LT Std 85 Heavy"/>
              </a:defRPr>
            </a:lvl1pPr>
            <a:lvl2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2pPr>
            <a:lvl3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3pPr>
            <a:lvl4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4pPr>
            <a:lvl5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5pPr>
            <a:lvl6pPr marL="0" marR="0" indent="3556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6pPr>
            <a:lvl7pPr marL="0" marR="0" indent="7112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7pPr>
            <a:lvl8pPr marL="0" marR="0" indent="10668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8pPr>
            <a:lvl9pPr marL="0" marR="0" indent="14224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9pPr>
          </a:lstStyle>
          <a:p>
            <a:pPr algn="r" defTabSz="485775" fontAlgn="auto">
              <a:tabLst>
                <a:tab pos="381000" algn="l"/>
                <a:tab pos="762000" algn="l"/>
                <a:tab pos="1143000" algn="l"/>
                <a:tab pos="1514475" algn="l"/>
                <a:tab pos="1895475" algn="l"/>
                <a:tab pos="2276475" algn="l"/>
                <a:tab pos="2657475" algn="l"/>
                <a:tab pos="3038475" algn="l"/>
                <a:tab pos="3419475" algn="l"/>
                <a:tab pos="3800475" algn="l"/>
                <a:tab pos="4171950" algn="l"/>
                <a:tab pos="4552950" algn="l"/>
              </a:tabLst>
              <a:defRPr/>
            </a:pPr>
            <a:r>
              <a:rPr lang="en-US" sz="21600" kern="0" spc="-1500" dirty="0">
                <a:solidFill>
                  <a:schemeClr val="tx1"/>
                </a:solidFill>
              </a:rPr>
              <a:t>01</a:t>
            </a:r>
          </a:p>
        </p:txBody>
      </p:sp>
      <p:sp>
        <p:nvSpPr>
          <p:cNvPr id="11" name="Freeform 10">
            <a:extLst>
              <a:ext uri="{FF2B5EF4-FFF2-40B4-BE49-F238E27FC236}">
                <a16:creationId xmlns:a16="http://schemas.microsoft.com/office/drawing/2014/main" id="{6955117C-9857-D64D-9DD0-3766086FDC74}"/>
              </a:ext>
            </a:extLst>
          </p:cNvPr>
          <p:cNvSpPr/>
          <p:nvPr/>
        </p:nvSpPr>
        <p:spPr>
          <a:xfrm>
            <a:off x="436728" y="1569493"/>
            <a:ext cx="3844592" cy="2586919"/>
          </a:xfrm>
          <a:custGeom>
            <a:avLst/>
            <a:gdLst>
              <a:gd name="connsiteX0" fmla="*/ 0 w 2030015"/>
              <a:gd name="connsiteY0" fmla="*/ 0 h 1218009"/>
              <a:gd name="connsiteX1" fmla="*/ 2030015 w 2030015"/>
              <a:gd name="connsiteY1" fmla="*/ 0 h 1218009"/>
              <a:gd name="connsiteX2" fmla="*/ 2030015 w 2030015"/>
              <a:gd name="connsiteY2" fmla="*/ 1218009 h 1218009"/>
              <a:gd name="connsiteX3" fmla="*/ 0 w 2030015"/>
              <a:gd name="connsiteY3" fmla="*/ 1218009 h 1218009"/>
              <a:gd name="connsiteX4" fmla="*/ 0 w 2030015"/>
              <a:gd name="connsiteY4" fmla="*/ 0 h 12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015" h="1218009">
                <a:moveTo>
                  <a:pt x="0" y="0"/>
                </a:moveTo>
                <a:lnTo>
                  <a:pt x="2030015" y="0"/>
                </a:lnTo>
                <a:lnTo>
                  <a:pt x="2030015" y="1218009"/>
                </a:lnTo>
                <a:lnTo>
                  <a:pt x="0" y="1218009"/>
                </a:lnTo>
                <a:lnTo>
                  <a:pt x="0" y="0"/>
                </a:lnTo>
                <a:close/>
              </a:path>
            </a:pathLst>
          </a:custGeom>
          <a:noFill/>
          <a:ln w="25400" cap="flat" cmpd="sng" algn="ctr">
            <a:noFill/>
            <a:prstDash val="solid"/>
          </a:ln>
          <a:effectLst/>
        </p:spPr>
        <p:txBody>
          <a:bodyPr spcFirstLastPara="0" vert="horz" wrap="square" lIns="42863" tIns="42863" rIns="42863" bIns="42863" numCol="1" spcCol="1270" anchor="t" anchorCtr="0">
            <a:noAutofit/>
          </a:bodyPr>
          <a:lstStyle/>
          <a:p>
            <a:pPr defTabSz="500063">
              <a:lnSpc>
                <a:spcPct val="90000"/>
              </a:lnSpc>
              <a:spcAft>
                <a:spcPct val="35000"/>
              </a:spcAft>
            </a:pPr>
            <a:r>
              <a:rPr lang="en-US" sz="4000" b="1" kern="0" dirty="0">
                <a:solidFill>
                  <a:schemeClr val="bg1"/>
                </a:solidFill>
              </a:rPr>
              <a:t>Fit for purpose</a:t>
            </a:r>
          </a:p>
          <a:p>
            <a:pPr defTabSz="500063">
              <a:lnSpc>
                <a:spcPct val="90000"/>
              </a:lnSpc>
              <a:spcAft>
                <a:spcPct val="35000"/>
              </a:spcAft>
            </a:pPr>
            <a:r>
              <a:rPr lang="en-US" sz="2000" b="1" i="1" kern="0" dirty="0">
                <a:solidFill>
                  <a:schemeClr val="bg1"/>
                </a:solidFill>
              </a:rPr>
              <a:t>Data and Insights platforms enabled for varying needs </a:t>
            </a:r>
          </a:p>
          <a:p>
            <a:pPr defTabSz="500063">
              <a:lnSpc>
                <a:spcPct val="90000"/>
              </a:lnSpc>
              <a:spcAft>
                <a:spcPct val="35000"/>
              </a:spcAft>
            </a:pPr>
            <a:endParaRPr lang="en-US" sz="3200" b="1" kern="0" dirty="0">
              <a:solidFill>
                <a:schemeClr val="bg1"/>
              </a:solidFill>
            </a:endParaRPr>
          </a:p>
          <a:p>
            <a:pPr defTabSz="500063">
              <a:lnSpc>
                <a:spcPct val="90000"/>
              </a:lnSpc>
              <a:spcAft>
                <a:spcPct val="35000"/>
              </a:spcAft>
            </a:pPr>
            <a:endParaRPr lang="en-US" sz="3200" b="1" kern="0" dirty="0">
              <a:solidFill>
                <a:schemeClr val="bg1"/>
              </a:solidFill>
              <a:latin typeface="Arial"/>
              <a:ea typeface="+mn-ea"/>
              <a:cs typeface="+mn-cs"/>
            </a:endParaRPr>
          </a:p>
        </p:txBody>
      </p:sp>
      <p:sp>
        <p:nvSpPr>
          <p:cNvPr id="12" name="TextBox 11">
            <a:extLst>
              <a:ext uri="{FF2B5EF4-FFF2-40B4-BE49-F238E27FC236}">
                <a16:creationId xmlns:a16="http://schemas.microsoft.com/office/drawing/2014/main" id="{1BA46A48-F363-0447-A865-7BACAE524AE3}"/>
              </a:ext>
            </a:extLst>
          </p:cNvPr>
          <p:cNvSpPr txBox="1"/>
          <p:nvPr/>
        </p:nvSpPr>
        <p:spPr>
          <a:xfrm>
            <a:off x="5027389" y="1569493"/>
            <a:ext cx="2790197"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Modernize the core</a:t>
            </a:r>
          </a:p>
        </p:txBody>
      </p:sp>
      <p:sp>
        <p:nvSpPr>
          <p:cNvPr id="13" name="TextBox 12">
            <a:extLst>
              <a:ext uri="{FF2B5EF4-FFF2-40B4-BE49-F238E27FC236}">
                <a16:creationId xmlns:a16="http://schemas.microsoft.com/office/drawing/2014/main" id="{DC81B052-5C67-764D-A15B-119272E8B505}"/>
              </a:ext>
            </a:extLst>
          </p:cNvPr>
          <p:cNvSpPr txBox="1"/>
          <p:nvPr/>
        </p:nvSpPr>
        <p:spPr>
          <a:xfrm>
            <a:off x="5027389" y="2571750"/>
            <a:ext cx="2349225"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Enable the future</a:t>
            </a:r>
          </a:p>
        </p:txBody>
      </p:sp>
    </p:spTree>
    <p:extLst>
      <p:ext uri="{BB962C8B-B14F-4D97-AF65-F5344CB8AC3E}">
        <p14:creationId xmlns:p14="http://schemas.microsoft.com/office/powerpoint/2010/main" val="3246772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0" y="0"/>
            <a:ext cx="4646644" cy="5143500"/>
          </a:xfrm>
          <a:prstGeom prst="rect">
            <a:avLst/>
          </a:prstGeom>
          <a:solidFill>
            <a:schemeClr val="tx1">
              <a:alpha val="31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6955117C-9857-D64D-9DD0-3766086FDC74}"/>
              </a:ext>
            </a:extLst>
          </p:cNvPr>
          <p:cNvSpPr/>
          <p:nvPr/>
        </p:nvSpPr>
        <p:spPr>
          <a:xfrm>
            <a:off x="313899" y="1644555"/>
            <a:ext cx="3336720" cy="2023236"/>
          </a:xfrm>
          <a:custGeom>
            <a:avLst/>
            <a:gdLst>
              <a:gd name="connsiteX0" fmla="*/ 0 w 2030015"/>
              <a:gd name="connsiteY0" fmla="*/ 0 h 1218009"/>
              <a:gd name="connsiteX1" fmla="*/ 2030015 w 2030015"/>
              <a:gd name="connsiteY1" fmla="*/ 0 h 1218009"/>
              <a:gd name="connsiteX2" fmla="*/ 2030015 w 2030015"/>
              <a:gd name="connsiteY2" fmla="*/ 1218009 h 1218009"/>
              <a:gd name="connsiteX3" fmla="*/ 0 w 2030015"/>
              <a:gd name="connsiteY3" fmla="*/ 1218009 h 1218009"/>
              <a:gd name="connsiteX4" fmla="*/ 0 w 2030015"/>
              <a:gd name="connsiteY4" fmla="*/ 0 h 12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015" h="1218009">
                <a:moveTo>
                  <a:pt x="0" y="0"/>
                </a:moveTo>
                <a:lnTo>
                  <a:pt x="2030015" y="0"/>
                </a:lnTo>
                <a:lnTo>
                  <a:pt x="2030015" y="1218009"/>
                </a:lnTo>
                <a:lnTo>
                  <a:pt x="0" y="1218009"/>
                </a:lnTo>
                <a:lnTo>
                  <a:pt x="0" y="0"/>
                </a:lnTo>
                <a:close/>
              </a:path>
            </a:pathLst>
          </a:custGeom>
          <a:noFill/>
          <a:ln w="25400" cap="flat" cmpd="sng" algn="ctr">
            <a:noFill/>
            <a:prstDash val="solid"/>
          </a:ln>
          <a:effectLst/>
        </p:spPr>
        <p:txBody>
          <a:bodyPr spcFirstLastPara="0" vert="horz" wrap="square" lIns="42863" tIns="42863" rIns="42863" bIns="42863" numCol="1" spcCol="1270" anchor="t" anchorCtr="0">
            <a:noAutofit/>
          </a:bodyPr>
          <a:lstStyle/>
          <a:p>
            <a:pPr defTabSz="500063">
              <a:lnSpc>
                <a:spcPct val="90000"/>
              </a:lnSpc>
              <a:spcAft>
                <a:spcPct val="35000"/>
              </a:spcAft>
            </a:pPr>
            <a:r>
              <a:rPr lang="en-US" sz="4000" b="1" kern="0" dirty="0">
                <a:solidFill>
                  <a:schemeClr val="bg1"/>
                </a:solidFill>
              </a:rPr>
              <a:t>AI Infusion</a:t>
            </a:r>
          </a:p>
          <a:p>
            <a:pPr defTabSz="500063">
              <a:lnSpc>
                <a:spcPct val="90000"/>
              </a:lnSpc>
              <a:spcAft>
                <a:spcPct val="35000"/>
              </a:spcAft>
            </a:pPr>
            <a:r>
              <a:rPr lang="en-US" sz="2000" b="1" i="1" kern="0" dirty="0">
                <a:solidFill>
                  <a:schemeClr val="bg1"/>
                </a:solidFill>
              </a:rPr>
              <a:t>Innovate with AI by infusing into processes </a:t>
            </a:r>
          </a:p>
          <a:p>
            <a:pPr defTabSz="500063">
              <a:lnSpc>
                <a:spcPct val="90000"/>
              </a:lnSpc>
              <a:spcAft>
                <a:spcPct val="35000"/>
              </a:spcAft>
            </a:pPr>
            <a:endParaRPr lang="en-US" sz="3200" b="1" kern="0" dirty="0">
              <a:solidFill>
                <a:schemeClr val="bg1"/>
              </a:solidFill>
            </a:endParaRPr>
          </a:p>
          <a:p>
            <a:pPr defTabSz="500063">
              <a:lnSpc>
                <a:spcPct val="90000"/>
              </a:lnSpc>
              <a:spcAft>
                <a:spcPct val="35000"/>
              </a:spcAft>
            </a:pPr>
            <a:endParaRPr lang="en-US" sz="3200" b="1" kern="0" dirty="0">
              <a:solidFill>
                <a:schemeClr val="bg1"/>
              </a:solidFill>
              <a:latin typeface="Arial"/>
              <a:ea typeface="+mn-ea"/>
              <a:cs typeface="+mn-cs"/>
            </a:endParaRPr>
          </a:p>
        </p:txBody>
      </p:sp>
      <p:sp>
        <p:nvSpPr>
          <p:cNvPr id="12" name="TextBox 11">
            <a:extLst>
              <a:ext uri="{FF2B5EF4-FFF2-40B4-BE49-F238E27FC236}">
                <a16:creationId xmlns:a16="http://schemas.microsoft.com/office/drawing/2014/main" id="{1BA46A48-F363-0447-A865-7BACAE524AE3}"/>
              </a:ext>
            </a:extLst>
          </p:cNvPr>
          <p:cNvSpPr txBox="1"/>
          <p:nvPr/>
        </p:nvSpPr>
        <p:spPr>
          <a:xfrm>
            <a:off x="4960543" y="1675361"/>
            <a:ext cx="2790197"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Applied Intelligence</a:t>
            </a:r>
          </a:p>
        </p:txBody>
      </p:sp>
      <p:sp>
        <p:nvSpPr>
          <p:cNvPr id="13" name="TextBox 12">
            <a:extLst>
              <a:ext uri="{FF2B5EF4-FFF2-40B4-BE49-F238E27FC236}">
                <a16:creationId xmlns:a16="http://schemas.microsoft.com/office/drawing/2014/main" id="{DC81B052-5C67-764D-A15B-119272E8B505}"/>
              </a:ext>
            </a:extLst>
          </p:cNvPr>
          <p:cNvSpPr txBox="1"/>
          <p:nvPr/>
        </p:nvSpPr>
        <p:spPr>
          <a:xfrm>
            <a:off x="4960543" y="2832978"/>
            <a:ext cx="2349225"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Automation</a:t>
            </a:r>
          </a:p>
        </p:txBody>
      </p:sp>
      <p:sp>
        <p:nvSpPr>
          <p:cNvPr id="15" name="01">
            <a:extLst>
              <a:ext uri="{FF2B5EF4-FFF2-40B4-BE49-F238E27FC236}">
                <a16:creationId xmlns:a16="http://schemas.microsoft.com/office/drawing/2014/main" id="{A69023BE-D62A-D34C-AD26-C912D45A0F6A}"/>
              </a:ext>
            </a:extLst>
          </p:cNvPr>
          <p:cNvSpPr txBox="1">
            <a:spLocks/>
          </p:cNvSpPr>
          <p:nvPr/>
        </p:nvSpPr>
        <p:spPr>
          <a:xfrm>
            <a:off x="4819750" y="3312075"/>
            <a:ext cx="3175194" cy="306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marL="0" marR="0" indent="0" algn="l" defTabSz="647700" eaLnBrk="1" latinLnBrk="0" hangingPunct="1">
              <a:lnSpc>
                <a:spcPct val="90000"/>
              </a:lnSpc>
              <a:spcBef>
                <a:spcPts val="0"/>
              </a:spcBef>
              <a:spcAft>
                <a:spcPts val="0"/>
              </a:spcAft>
              <a:buClrTx/>
              <a:buSzTx/>
              <a:buFontTx/>
              <a:buNone/>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100000" b="0" i="0" u="none" strike="noStrike" cap="none" spc="-2000" baseline="0">
                <a:ln>
                  <a:noFill/>
                </a:ln>
                <a:solidFill>
                  <a:schemeClr val="accent6">
                    <a:lumOff val="100000"/>
                  </a:schemeClr>
                </a:solidFill>
                <a:uFillTx/>
                <a:latin typeface="Helvetica Neue LT Std 85 Heavy"/>
                <a:ea typeface="Helvetica Neue LT Std 85 Heavy"/>
                <a:cs typeface="Helvetica Neue LT Std 85 Heavy"/>
                <a:sym typeface="Helvetica Neue LT Std 85 Heavy"/>
              </a:defRPr>
            </a:lvl1pPr>
            <a:lvl2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2pPr>
            <a:lvl3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3pPr>
            <a:lvl4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4pPr>
            <a:lvl5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5pPr>
            <a:lvl6pPr marL="0" marR="0" indent="3556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6pPr>
            <a:lvl7pPr marL="0" marR="0" indent="7112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7pPr>
            <a:lvl8pPr marL="0" marR="0" indent="10668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8pPr>
            <a:lvl9pPr marL="0" marR="0" indent="14224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9pPr>
          </a:lstStyle>
          <a:p>
            <a:pPr algn="r" defTabSz="485775" fontAlgn="auto">
              <a:tabLst>
                <a:tab pos="381000" algn="l"/>
                <a:tab pos="762000" algn="l"/>
                <a:tab pos="1143000" algn="l"/>
                <a:tab pos="1514475" algn="l"/>
                <a:tab pos="1895475" algn="l"/>
                <a:tab pos="2276475" algn="l"/>
                <a:tab pos="2657475" algn="l"/>
                <a:tab pos="3038475" algn="l"/>
                <a:tab pos="3419475" algn="l"/>
                <a:tab pos="3800475" algn="l"/>
                <a:tab pos="4171950" algn="l"/>
                <a:tab pos="4552950" algn="l"/>
              </a:tabLst>
              <a:defRPr/>
            </a:pPr>
            <a:r>
              <a:rPr lang="en-US" sz="21600" kern="0" spc="-1500" dirty="0" smtClean="0">
                <a:solidFill>
                  <a:schemeClr val="tx1"/>
                </a:solidFill>
              </a:rPr>
              <a:t>02</a:t>
            </a:r>
            <a:endParaRPr lang="en-US" sz="21600" kern="0" spc="-1500" dirty="0">
              <a:solidFill>
                <a:schemeClr val="tx1"/>
              </a:solidFill>
            </a:endParaRPr>
          </a:p>
        </p:txBody>
      </p:sp>
      <p:sp>
        <p:nvSpPr>
          <p:cNvPr id="17" name="Title 7"/>
          <p:cNvSpPr>
            <a:spLocks noGrp="1"/>
          </p:cNvSpPr>
          <p:nvPr>
            <p:ph type="title"/>
          </p:nvPr>
        </p:nvSpPr>
        <p:spPr>
          <a:xfrm>
            <a:off x="4646644" y="256924"/>
            <a:ext cx="4213226" cy="916783"/>
          </a:xfrm>
        </p:spPr>
        <p:txBody>
          <a:bodyPr/>
          <a:lstStyle/>
          <a:p>
            <a:r>
              <a:rPr lang="en-US" sz="2800" dirty="0"/>
              <a:t>Transforming to an </a:t>
            </a:r>
            <a:r>
              <a:rPr lang="en-US" sz="2800" dirty="0" smtClean="0"/>
              <a:t/>
            </a:r>
            <a:br>
              <a:rPr lang="en-US" sz="2800" dirty="0" smtClean="0"/>
            </a:br>
            <a:r>
              <a:rPr lang="en-US" sz="2800" dirty="0" smtClean="0"/>
              <a:t>Intelligent Enterprise</a:t>
            </a:r>
            <a:r>
              <a:rPr lang="en-US" sz="2800" dirty="0"/>
              <a:t/>
            </a:r>
            <a:br>
              <a:rPr lang="en-US" sz="2800" dirty="0"/>
            </a:br>
            <a:endParaRPr lang="en-US" sz="2800" dirty="0"/>
          </a:p>
        </p:txBody>
      </p:sp>
    </p:spTree>
    <p:extLst>
      <p:ext uri="{BB962C8B-B14F-4D97-AF65-F5344CB8AC3E}">
        <p14:creationId xmlns:p14="http://schemas.microsoft.com/office/powerpoint/2010/main" val="2252831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4571999" cy="5143500"/>
          </a:xfrm>
          <a:prstGeom prst="rect">
            <a:avLst/>
          </a:prstGeom>
          <a:solidFill>
            <a:schemeClr val="tx1">
              <a:alpha val="31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6955117C-9857-D64D-9DD0-3766086FDC74}"/>
              </a:ext>
            </a:extLst>
          </p:cNvPr>
          <p:cNvSpPr/>
          <p:nvPr/>
        </p:nvSpPr>
        <p:spPr>
          <a:xfrm>
            <a:off x="177420" y="1466991"/>
            <a:ext cx="3937379" cy="2616440"/>
          </a:xfrm>
          <a:custGeom>
            <a:avLst/>
            <a:gdLst>
              <a:gd name="connsiteX0" fmla="*/ 0 w 2030015"/>
              <a:gd name="connsiteY0" fmla="*/ 0 h 1218009"/>
              <a:gd name="connsiteX1" fmla="*/ 2030015 w 2030015"/>
              <a:gd name="connsiteY1" fmla="*/ 0 h 1218009"/>
              <a:gd name="connsiteX2" fmla="*/ 2030015 w 2030015"/>
              <a:gd name="connsiteY2" fmla="*/ 1218009 h 1218009"/>
              <a:gd name="connsiteX3" fmla="*/ 0 w 2030015"/>
              <a:gd name="connsiteY3" fmla="*/ 1218009 h 1218009"/>
              <a:gd name="connsiteX4" fmla="*/ 0 w 2030015"/>
              <a:gd name="connsiteY4" fmla="*/ 0 h 12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015" h="1218009">
                <a:moveTo>
                  <a:pt x="0" y="0"/>
                </a:moveTo>
                <a:lnTo>
                  <a:pt x="2030015" y="0"/>
                </a:lnTo>
                <a:lnTo>
                  <a:pt x="2030015" y="1218009"/>
                </a:lnTo>
                <a:lnTo>
                  <a:pt x="0" y="1218009"/>
                </a:lnTo>
                <a:lnTo>
                  <a:pt x="0" y="0"/>
                </a:lnTo>
                <a:close/>
              </a:path>
            </a:pathLst>
          </a:custGeom>
          <a:noFill/>
          <a:ln w="25400" cap="flat" cmpd="sng" algn="ctr">
            <a:noFill/>
            <a:prstDash val="solid"/>
          </a:ln>
          <a:effectLst/>
        </p:spPr>
        <p:txBody>
          <a:bodyPr spcFirstLastPara="0" vert="horz" wrap="square" lIns="42863" tIns="42863" rIns="42863" bIns="42863" numCol="1" spcCol="1270" anchor="t" anchorCtr="0">
            <a:noAutofit/>
          </a:bodyPr>
          <a:lstStyle/>
          <a:p>
            <a:pPr defTabSz="500063">
              <a:lnSpc>
                <a:spcPct val="90000"/>
              </a:lnSpc>
              <a:spcAft>
                <a:spcPct val="35000"/>
              </a:spcAft>
            </a:pPr>
            <a:r>
              <a:rPr lang="en-US" sz="4000" b="1" kern="0" dirty="0">
                <a:solidFill>
                  <a:schemeClr val="bg1"/>
                </a:solidFill>
              </a:rPr>
              <a:t>Digital &amp; Cloud</a:t>
            </a:r>
          </a:p>
          <a:p>
            <a:pPr defTabSz="500063">
              <a:lnSpc>
                <a:spcPct val="90000"/>
              </a:lnSpc>
              <a:spcAft>
                <a:spcPct val="35000"/>
              </a:spcAft>
            </a:pPr>
            <a:r>
              <a:rPr lang="en-US" sz="2000" b="1" i="1" kern="0" dirty="0">
                <a:solidFill>
                  <a:schemeClr val="bg1"/>
                </a:solidFill>
              </a:rPr>
              <a:t>Accelerate transformation by leveraging microservices </a:t>
            </a:r>
            <a:endParaRPr lang="en-US" sz="3200" b="1" kern="0" dirty="0">
              <a:solidFill>
                <a:schemeClr val="bg1"/>
              </a:solidFill>
            </a:endParaRPr>
          </a:p>
          <a:p>
            <a:pPr defTabSz="500063">
              <a:lnSpc>
                <a:spcPct val="90000"/>
              </a:lnSpc>
              <a:spcAft>
                <a:spcPct val="35000"/>
              </a:spcAft>
            </a:pPr>
            <a:endParaRPr lang="en-US" sz="3200" b="1" kern="0" dirty="0">
              <a:solidFill>
                <a:schemeClr val="bg1"/>
              </a:solidFill>
              <a:latin typeface="Arial"/>
              <a:ea typeface="+mn-ea"/>
              <a:cs typeface="+mn-cs"/>
            </a:endParaRPr>
          </a:p>
        </p:txBody>
      </p:sp>
      <p:sp>
        <p:nvSpPr>
          <p:cNvPr id="12" name="TextBox 11">
            <a:extLst>
              <a:ext uri="{FF2B5EF4-FFF2-40B4-BE49-F238E27FC236}">
                <a16:creationId xmlns:a16="http://schemas.microsoft.com/office/drawing/2014/main" id="{1BA46A48-F363-0447-A865-7BACAE524AE3}"/>
              </a:ext>
            </a:extLst>
          </p:cNvPr>
          <p:cNvSpPr txBox="1"/>
          <p:nvPr/>
        </p:nvSpPr>
        <p:spPr>
          <a:xfrm>
            <a:off x="4980942" y="1617594"/>
            <a:ext cx="2790197"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Platform Services</a:t>
            </a:r>
          </a:p>
        </p:txBody>
      </p:sp>
      <p:sp>
        <p:nvSpPr>
          <p:cNvPr id="13" name="TextBox 12">
            <a:extLst>
              <a:ext uri="{FF2B5EF4-FFF2-40B4-BE49-F238E27FC236}">
                <a16:creationId xmlns:a16="http://schemas.microsoft.com/office/drawing/2014/main" id="{DC81B052-5C67-764D-A15B-119272E8B505}"/>
              </a:ext>
            </a:extLst>
          </p:cNvPr>
          <p:cNvSpPr txBox="1"/>
          <p:nvPr/>
        </p:nvSpPr>
        <p:spPr>
          <a:xfrm>
            <a:off x="4980942" y="2775211"/>
            <a:ext cx="2349225"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DevOps</a:t>
            </a:r>
          </a:p>
        </p:txBody>
      </p:sp>
      <p:sp>
        <p:nvSpPr>
          <p:cNvPr id="15" name="01">
            <a:extLst>
              <a:ext uri="{FF2B5EF4-FFF2-40B4-BE49-F238E27FC236}">
                <a16:creationId xmlns:a16="http://schemas.microsoft.com/office/drawing/2014/main" id="{A69023BE-D62A-D34C-AD26-C912D45A0F6A}"/>
              </a:ext>
            </a:extLst>
          </p:cNvPr>
          <p:cNvSpPr txBox="1">
            <a:spLocks/>
          </p:cNvSpPr>
          <p:nvPr/>
        </p:nvSpPr>
        <p:spPr>
          <a:xfrm>
            <a:off x="4980942" y="3481058"/>
            <a:ext cx="2881767" cy="306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marL="0" marR="0" indent="0" algn="l" defTabSz="647700" eaLnBrk="1" latinLnBrk="0" hangingPunct="1">
              <a:lnSpc>
                <a:spcPct val="90000"/>
              </a:lnSpc>
              <a:spcBef>
                <a:spcPts val="0"/>
              </a:spcBef>
              <a:spcAft>
                <a:spcPts val="0"/>
              </a:spcAft>
              <a:buClrTx/>
              <a:buSzTx/>
              <a:buFontTx/>
              <a:buNone/>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100000" b="0" i="0" u="none" strike="noStrike" cap="none" spc="-2000" baseline="0">
                <a:ln>
                  <a:noFill/>
                </a:ln>
                <a:solidFill>
                  <a:schemeClr val="accent6">
                    <a:lumOff val="100000"/>
                  </a:schemeClr>
                </a:solidFill>
                <a:uFillTx/>
                <a:latin typeface="Helvetica Neue LT Std 85 Heavy"/>
                <a:ea typeface="Helvetica Neue LT Std 85 Heavy"/>
                <a:cs typeface="Helvetica Neue LT Std 85 Heavy"/>
                <a:sym typeface="Helvetica Neue LT Std 85 Heavy"/>
              </a:defRPr>
            </a:lvl1pPr>
            <a:lvl2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2pPr>
            <a:lvl3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3pPr>
            <a:lvl4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4pPr>
            <a:lvl5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5pPr>
            <a:lvl6pPr marL="0" marR="0" indent="3556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6pPr>
            <a:lvl7pPr marL="0" marR="0" indent="7112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7pPr>
            <a:lvl8pPr marL="0" marR="0" indent="10668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8pPr>
            <a:lvl9pPr marL="0" marR="0" indent="14224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9pPr>
          </a:lstStyle>
          <a:p>
            <a:pPr algn="r" defTabSz="485775" fontAlgn="auto">
              <a:tabLst>
                <a:tab pos="381000" algn="l"/>
                <a:tab pos="762000" algn="l"/>
                <a:tab pos="1143000" algn="l"/>
                <a:tab pos="1514475" algn="l"/>
                <a:tab pos="1895475" algn="l"/>
                <a:tab pos="2276475" algn="l"/>
                <a:tab pos="2657475" algn="l"/>
                <a:tab pos="3038475" algn="l"/>
                <a:tab pos="3419475" algn="l"/>
                <a:tab pos="3800475" algn="l"/>
                <a:tab pos="4171950" algn="l"/>
                <a:tab pos="4552950" algn="l"/>
              </a:tabLst>
              <a:defRPr/>
            </a:pPr>
            <a:r>
              <a:rPr lang="en-US" sz="21600" kern="0" spc="-1500" dirty="0" smtClean="0">
                <a:solidFill>
                  <a:schemeClr val="tx1"/>
                </a:solidFill>
              </a:rPr>
              <a:t>03</a:t>
            </a:r>
            <a:endParaRPr lang="en-US" sz="21600" kern="0" spc="-1500" dirty="0">
              <a:solidFill>
                <a:schemeClr val="tx1"/>
              </a:solidFill>
            </a:endParaRPr>
          </a:p>
        </p:txBody>
      </p:sp>
      <p:sp>
        <p:nvSpPr>
          <p:cNvPr id="16" name="Title 7"/>
          <p:cNvSpPr>
            <a:spLocks noGrp="1"/>
          </p:cNvSpPr>
          <p:nvPr>
            <p:ph type="title"/>
          </p:nvPr>
        </p:nvSpPr>
        <p:spPr>
          <a:xfrm>
            <a:off x="4694828" y="269467"/>
            <a:ext cx="4213226" cy="531455"/>
          </a:xfrm>
        </p:spPr>
        <p:txBody>
          <a:bodyPr/>
          <a:lstStyle/>
          <a:p>
            <a:r>
              <a:rPr lang="en-US" sz="2800" dirty="0"/>
              <a:t>Transforming to an </a:t>
            </a:r>
            <a:r>
              <a:rPr lang="en-US" sz="2800" dirty="0" smtClean="0"/>
              <a:t/>
            </a:r>
            <a:br>
              <a:rPr lang="en-US" sz="2800" dirty="0" smtClean="0"/>
            </a:br>
            <a:r>
              <a:rPr lang="en-US" sz="2800" dirty="0" smtClean="0"/>
              <a:t>Intelligent Enterprise</a:t>
            </a:r>
            <a:r>
              <a:rPr lang="en-US" sz="2800" dirty="0"/>
              <a:t/>
            </a:r>
            <a:br>
              <a:rPr lang="en-US" sz="2800" dirty="0"/>
            </a:br>
            <a:endParaRPr lang="en-US" sz="2800" dirty="0"/>
          </a:p>
        </p:txBody>
      </p:sp>
    </p:spTree>
    <p:extLst>
      <p:ext uri="{BB962C8B-B14F-4D97-AF65-F5344CB8AC3E}">
        <p14:creationId xmlns:p14="http://schemas.microsoft.com/office/powerpoint/2010/main" val="2306002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4590661" cy="5143500"/>
          </a:xfrm>
          <a:prstGeom prst="rect">
            <a:avLst/>
          </a:prstGeom>
          <a:solidFill>
            <a:schemeClr val="tx1">
              <a:alpha val="31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6955117C-9857-D64D-9DD0-3766086FDC74}"/>
              </a:ext>
            </a:extLst>
          </p:cNvPr>
          <p:cNvSpPr/>
          <p:nvPr/>
        </p:nvSpPr>
        <p:spPr>
          <a:xfrm>
            <a:off x="109182" y="1228299"/>
            <a:ext cx="3867838" cy="2344242"/>
          </a:xfrm>
          <a:custGeom>
            <a:avLst/>
            <a:gdLst>
              <a:gd name="connsiteX0" fmla="*/ 0 w 2030015"/>
              <a:gd name="connsiteY0" fmla="*/ 0 h 1218009"/>
              <a:gd name="connsiteX1" fmla="*/ 2030015 w 2030015"/>
              <a:gd name="connsiteY1" fmla="*/ 0 h 1218009"/>
              <a:gd name="connsiteX2" fmla="*/ 2030015 w 2030015"/>
              <a:gd name="connsiteY2" fmla="*/ 1218009 h 1218009"/>
              <a:gd name="connsiteX3" fmla="*/ 0 w 2030015"/>
              <a:gd name="connsiteY3" fmla="*/ 1218009 h 1218009"/>
              <a:gd name="connsiteX4" fmla="*/ 0 w 2030015"/>
              <a:gd name="connsiteY4" fmla="*/ 0 h 12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015" h="1218009">
                <a:moveTo>
                  <a:pt x="0" y="0"/>
                </a:moveTo>
                <a:lnTo>
                  <a:pt x="2030015" y="0"/>
                </a:lnTo>
                <a:lnTo>
                  <a:pt x="2030015" y="1218009"/>
                </a:lnTo>
                <a:lnTo>
                  <a:pt x="0" y="1218009"/>
                </a:lnTo>
                <a:lnTo>
                  <a:pt x="0" y="0"/>
                </a:lnTo>
                <a:close/>
              </a:path>
            </a:pathLst>
          </a:custGeom>
          <a:noFill/>
          <a:ln w="25400" cap="flat" cmpd="sng" algn="ctr">
            <a:noFill/>
            <a:prstDash val="solid"/>
          </a:ln>
          <a:effectLst/>
        </p:spPr>
        <p:txBody>
          <a:bodyPr spcFirstLastPara="0" vert="horz" wrap="square" lIns="42863" tIns="42863" rIns="42863" bIns="42863" numCol="1" spcCol="1270" anchor="t" anchorCtr="0">
            <a:noAutofit/>
          </a:bodyPr>
          <a:lstStyle/>
          <a:p>
            <a:pPr defTabSz="500063">
              <a:lnSpc>
                <a:spcPct val="90000"/>
              </a:lnSpc>
              <a:spcAft>
                <a:spcPct val="35000"/>
              </a:spcAft>
            </a:pPr>
            <a:r>
              <a:rPr lang="en-US" sz="4000" b="1" kern="0" dirty="0">
                <a:solidFill>
                  <a:schemeClr val="bg1"/>
                </a:solidFill>
              </a:rPr>
              <a:t>Service Transformation</a:t>
            </a:r>
          </a:p>
          <a:p>
            <a:pPr defTabSz="500063">
              <a:lnSpc>
                <a:spcPct val="90000"/>
              </a:lnSpc>
              <a:spcAft>
                <a:spcPct val="35000"/>
              </a:spcAft>
            </a:pPr>
            <a:r>
              <a:rPr lang="en-US" sz="2000" b="1" i="1" kern="0" dirty="0">
                <a:solidFill>
                  <a:schemeClr val="bg1"/>
                </a:solidFill>
              </a:rPr>
              <a:t>Adopt next gen delivery to render superior value to customers </a:t>
            </a:r>
            <a:endParaRPr lang="en-US" sz="3200" b="1" kern="0" dirty="0">
              <a:solidFill>
                <a:schemeClr val="bg1"/>
              </a:solidFill>
            </a:endParaRPr>
          </a:p>
          <a:p>
            <a:pPr defTabSz="500063">
              <a:lnSpc>
                <a:spcPct val="90000"/>
              </a:lnSpc>
              <a:spcAft>
                <a:spcPct val="35000"/>
              </a:spcAft>
            </a:pPr>
            <a:endParaRPr lang="en-US" sz="3200" b="1" kern="0" dirty="0">
              <a:solidFill>
                <a:schemeClr val="bg1"/>
              </a:solidFill>
              <a:latin typeface="Arial"/>
              <a:ea typeface="+mn-ea"/>
              <a:cs typeface="+mn-cs"/>
            </a:endParaRPr>
          </a:p>
        </p:txBody>
      </p:sp>
      <p:sp>
        <p:nvSpPr>
          <p:cNvPr id="12" name="TextBox 11">
            <a:extLst>
              <a:ext uri="{FF2B5EF4-FFF2-40B4-BE49-F238E27FC236}">
                <a16:creationId xmlns:a16="http://schemas.microsoft.com/office/drawing/2014/main" id="{1BA46A48-F363-0447-A865-7BACAE524AE3}"/>
              </a:ext>
            </a:extLst>
          </p:cNvPr>
          <p:cNvSpPr txBox="1"/>
          <p:nvPr/>
        </p:nvSpPr>
        <p:spPr>
          <a:xfrm>
            <a:off x="4977054" y="1761655"/>
            <a:ext cx="2790197"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Talent Re-skilling</a:t>
            </a:r>
          </a:p>
        </p:txBody>
      </p:sp>
      <p:sp>
        <p:nvSpPr>
          <p:cNvPr id="13" name="TextBox 12">
            <a:extLst>
              <a:ext uri="{FF2B5EF4-FFF2-40B4-BE49-F238E27FC236}">
                <a16:creationId xmlns:a16="http://schemas.microsoft.com/office/drawing/2014/main" id="{DC81B052-5C67-764D-A15B-119272E8B505}"/>
              </a:ext>
            </a:extLst>
          </p:cNvPr>
          <p:cNvSpPr txBox="1"/>
          <p:nvPr/>
        </p:nvSpPr>
        <p:spPr>
          <a:xfrm>
            <a:off x="4977054" y="2778595"/>
            <a:ext cx="2349225"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Crowd-Sourcing</a:t>
            </a:r>
          </a:p>
        </p:txBody>
      </p:sp>
      <p:sp>
        <p:nvSpPr>
          <p:cNvPr id="15" name="01">
            <a:extLst>
              <a:ext uri="{FF2B5EF4-FFF2-40B4-BE49-F238E27FC236}">
                <a16:creationId xmlns:a16="http://schemas.microsoft.com/office/drawing/2014/main" id="{A69023BE-D62A-D34C-AD26-C912D45A0F6A}"/>
              </a:ext>
            </a:extLst>
          </p:cNvPr>
          <p:cNvSpPr txBox="1">
            <a:spLocks/>
          </p:cNvSpPr>
          <p:nvPr/>
        </p:nvSpPr>
        <p:spPr>
          <a:xfrm>
            <a:off x="5145206" y="3251394"/>
            <a:ext cx="2779409" cy="306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marL="0" marR="0" indent="0" algn="l" defTabSz="647700" eaLnBrk="1" latinLnBrk="0" hangingPunct="1">
              <a:lnSpc>
                <a:spcPct val="90000"/>
              </a:lnSpc>
              <a:spcBef>
                <a:spcPts val="0"/>
              </a:spcBef>
              <a:spcAft>
                <a:spcPts val="0"/>
              </a:spcAft>
              <a:buClrTx/>
              <a:buSzTx/>
              <a:buFontTx/>
              <a:buNone/>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100000" b="0" i="0" u="none" strike="noStrike" cap="none" spc="-2000" baseline="0">
                <a:ln>
                  <a:noFill/>
                </a:ln>
                <a:solidFill>
                  <a:schemeClr val="accent6">
                    <a:lumOff val="100000"/>
                  </a:schemeClr>
                </a:solidFill>
                <a:uFillTx/>
                <a:latin typeface="Helvetica Neue LT Std 85 Heavy"/>
                <a:ea typeface="Helvetica Neue LT Std 85 Heavy"/>
                <a:cs typeface="Helvetica Neue LT Std 85 Heavy"/>
                <a:sym typeface="Helvetica Neue LT Std 85 Heavy"/>
              </a:defRPr>
            </a:lvl1pPr>
            <a:lvl2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2pPr>
            <a:lvl3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3pPr>
            <a:lvl4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4pPr>
            <a:lvl5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5pPr>
            <a:lvl6pPr marL="0" marR="0" indent="3556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6pPr>
            <a:lvl7pPr marL="0" marR="0" indent="7112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7pPr>
            <a:lvl8pPr marL="0" marR="0" indent="10668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8pPr>
            <a:lvl9pPr marL="0" marR="0" indent="14224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9pPr>
          </a:lstStyle>
          <a:p>
            <a:pPr algn="r" defTabSz="485775" fontAlgn="auto">
              <a:tabLst>
                <a:tab pos="381000" algn="l"/>
                <a:tab pos="762000" algn="l"/>
                <a:tab pos="1143000" algn="l"/>
                <a:tab pos="1514475" algn="l"/>
                <a:tab pos="1895475" algn="l"/>
                <a:tab pos="2276475" algn="l"/>
                <a:tab pos="2657475" algn="l"/>
                <a:tab pos="3038475" algn="l"/>
                <a:tab pos="3419475" algn="l"/>
                <a:tab pos="3800475" algn="l"/>
                <a:tab pos="4171950" algn="l"/>
                <a:tab pos="4552950" algn="l"/>
              </a:tabLst>
              <a:defRPr/>
            </a:pPr>
            <a:r>
              <a:rPr lang="en-US" sz="21600" kern="0" spc="-1500" dirty="0" smtClean="0">
                <a:solidFill>
                  <a:schemeClr val="tx1"/>
                </a:solidFill>
              </a:rPr>
              <a:t>04</a:t>
            </a:r>
            <a:endParaRPr lang="en-US" sz="21600" kern="0" spc="-1500" dirty="0">
              <a:solidFill>
                <a:schemeClr val="tx1"/>
              </a:solidFill>
            </a:endParaRPr>
          </a:p>
        </p:txBody>
      </p:sp>
      <p:sp>
        <p:nvSpPr>
          <p:cNvPr id="16" name="Title 7"/>
          <p:cNvSpPr>
            <a:spLocks noGrp="1"/>
          </p:cNvSpPr>
          <p:nvPr>
            <p:ph type="title"/>
          </p:nvPr>
        </p:nvSpPr>
        <p:spPr>
          <a:xfrm>
            <a:off x="4646644" y="256924"/>
            <a:ext cx="4213226" cy="916783"/>
          </a:xfrm>
        </p:spPr>
        <p:txBody>
          <a:bodyPr/>
          <a:lstStyle/>
          <a:p>
            <a:r>
              <a:rPr lang="en-US" sz="2800" dirty="0"/>
              <a:t>Transforming to an </a:t>
            </a:r>
            <a:r>
              <a:rPr lang="en-US" sz="2800" dirty="0" smtClean="0"/>
              <a:t/>
            </a:r>
            <a:br>
              <a:rPr lang="en-US" sz="2800" dirty="0" smtClean="0"/>
            </a:br>
            <a:r>
              <a:rPr lang="en-US" sz="2800" dirty="0" smtClean="0"/>
              <a:t>Intelligent Enterprise</a:t>
            </a:r>
            <a:r>
              <a:rPr lang="en-US" sz="2800" dirty="0"/>
              <a:t/>
            </a:r>
            <a:br>
              <a:rPr lang="en-US" sz="2800" dirty="0"/>
            </a:br>
            <a:endParaRPr lang="en-US" sz="2800" dirty="0"/>
          </a:p>
        </p:txBody>
      </p:sp>
    </p:spTree>
    <p:extLst>
      <p:ext uri="{BB962C8B-B14F-4D97-AF65-F5344CB8AC3E}">
        <p14:creationId xmlns:p14="http://schemas.microsoft.com/office/powerpoint/2010/main" val="3381602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4590661" cy="5143500"/>
          </a:xfrm>
          <a:prstGeom prst="rect">
            <a:avLst/>
          </a:prstGeom>
          <a:solidFill>
            <a:schemeClr val="tx1">
              <a:alpha val="31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6955117C-9857-D64D-9DD0-3766086FDC74}"/>
              </a:ext>
            </a:extLst>
          </p:cNvPr>
          <p:cNvSpPr/>
          <p:nvPr/>
        </p:nvSpPr>
        <p:spPr>
          <a:xfrm>
            <a:off x="197893" y="1289713"/>
            <a:ext cx="3751823" cy="2340559"/>
          </a:xfrm>
          <a:custGeom>
            <a:avLst/>
            <a:gdLst>
              <a:gd name="connsiteX0" fmla="*/ 0 w 2030015"/>
              <a:gd name="connsiteY0" fmla="*/ 0 h 1218009"/>
              <a:gd name="connsiteX1" fmla="*/ 2030015 w 2030015"/>
              <a:gd name="connsiteY1" fmla="*/ 0 h 1218009"/>
              <a:gd name="connsiteX2" fmla="*/ 2030015 w 2030015"/>
              <a:gd name="connsiteY2" fmla="*/ 1218009 h 1218009"/>
              <a:gd name="connsiteX3" fmla="*/ 0 w 2030015"/>
              <a:gd name="connsiteY3" fmla="*/ 1218009 h 1218009"/>
              <a:gd name="connsiteX4" fmla="*/ 0 w 2030015"/>
              <a:gd name="connsiteY4" fmla="*/ 0 h 12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015" h="1218009">
                <a:moveTo>
                  <a:pt x="0" y="0"/>
                </a:moveTo>
                <a:lnTo>
                  <a:pt x="2030015" y="0"/>
                </a:lnTo>
                <a:lnTo>
                  <a:pt x="2030015" y="1218009"/>
                </a:lnTo>
                <a:lnTo>
                  <a:pt x="0" y="1218009"/>
                </a:lnTo>
                <a:lnTo>
                  <a:pt x="0" y="0"/>
                </a:lnTo>
                <a:close/>
              </a:path>
            </a:pathLst>
          </a:custGeom>
          <a:noFill/>
          <a:ln w="25400" cap="flat" cmpd="sng" algn="ctr">
            <a:noFill/>
            <a:prstDash val="solid"/>
          </a:ln>
          <a:effectLst/>
        </p:spPr>
        <p:txBody>
          <a:bodyPr spcFirstLastPara="0" vert="horz" wrap="square" lIns="42863" tIns="42863" rIns="42863" bIns="42863" numCol="1" spcCol="1270" anchor="t" anchorCtr="0">
            <a:noAutofit/>
          </a:bodyPr>
          <a:lstStyle/>
          <a:p>
            <a:pPr defTabSz="500063">
              <a:lnSpc>
                <a:spcPct val="90000"/>
              </a:lnSpc>
              <a:spcAft>
                <a:spcPct val="35000"/>
              </a:spcAft>
            </a:pPr>
            <a:r>
              <a:rPr lang="en-US" sz="4000" b="1" kern="0" dirty="0">
                <a:solidFill>
                  <a:schemeClr val="bg1"/>
                </a:solidFill>
              </a:rPr>
              <a:t>Tap into Partnerships</a:t>
            </a:r>
          </a:p>
          <a:p>
            <a:pPr defTabSz="500063">
              <a:lnSpc>
                <a:spcPct val="90000"/>
              </a:lnSpc>
              <a:spcAft>
                <a:spcPct val="35000"/>
              </a:spcAft>
            </a:pPr>
            <a:r>
              <a:rPr lang="en-US" sz="2000" b="1" i="1" kern="0" dirty="0">
                <a:solidFill>
                  <a:schemeClr val="bg1"/>
                </a:solidFill>
              </a:rPr>
              <a:t>Gain leverage through internal and external networks of innovation </a:t>
            </a:r>
            <a:endParaRPr lang="en-US" sz="3200" b="1" kern="0" dirty="0">
              <a:solidFill>
                <a:schemeClr val="bg1"/>
              </a:solidFill>
            </a:endParaRPr>
          </a:p>
          <a:p>
            <a:pPr defTabSz="500063">
              <a:lnSpc>
                <a:spcPct val="90000"/>
              </a:lnSpc>
              <a:spcAft>
                <a:spcPct val="35000"/>
              </a:spcAft>
            </a:pPr>
            <a:endParaRPr lang="en-US" sz="3200" b="1" kern="0" dirty="0">
              <a:solidFill>
                <a:schemeClr val="bg1"/>
              </a:solidFill>
              <a:latin typeface="Arial"/>
              <a:ea typeface="+mn-ea"/>
              <a:cs typeface="+mn-cs"/>
            </a:endParaRPr>
          </a:p>
        </p:txBody>
      </p:sp>
      <p:sp>
        <p:nvSpPr>
          <p:cNvPr id="12" name="TextBox 11">
            <a:extLst>
              <a:ext uri="{FF2B5EF4-FFF2-40B4-BE49-F238E27FC236}">
                <a16:creationId xmlns:a16="http://schemas.microsoft.com/office/drawing/2014/main" id="{1BA46A48-F363-0447-A865-7BACAE524AE3}"/>
              </a:ext>
            </a:extLst>
          </p:cNvPr>
          <p:cNvSpPr txBox="1"/>
          <p:nvPr/>
        </p:nvSpPr>
        <p:spPr>
          <a:xfrm>
            <a:off x="5043770" y="1682874"/>
            <a:ext cx="2790197"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a:t>Startups</a:t>
            </a:r>
          </a:p>
        </p:txBody>
      </p:sp>
      <p:sp>
        <p:nvSpPr>
          <p:cNvPr id="13" name="TextBox 12">
            <a:extLst>
              <a:ext uri="{FF2B5EF4-FFF2-40B4-BE49-F238E27FC236}">
                <a16:creationId xmlns:a16="http://schemas.microsoft.com/office/drawing/2014/main" id="{DC81B052-5C67-764D-A15B-119272E8B505}"/>
              </a:ext>
            </a:extLst>
          </p:cNvPr>
          <p:cNvSpPr txBox="1"/>
          <p:nvPr/>
        </p:nvSpPr>
        <p:spPr>
          <a:xfrm>
            <a:off x="5043769" y="2840491"/>
            <a:ext cx="3588439" cy="653269"/>
          </a:xfrm>
          <a:prstGeom prst="rect">
            <a:avLst/>
          </a:prstGeom>
          <a:noFill/>
          <a:ln w="25400" cap="flat" cmpd="sng" algn="ctr">
            <a:noFill/>
            <a:prstDash val="solid"/>
          </a:ln>
          <a:effectLst/>
        </p:spPr>
        <p:txBody>
          <a:bodyPr spcFirstLastPara="0" vert="horz" wrap="square" lIns="42863" tIns="42863" rIns="42863" bIns="42863" numCol="1" spcCol="1270" anchor="ctr" anchorCtr="0">
            <a:noAutofit/>
          </a:bodyPr>
          <a:lstStyle>
            <a:defPPr>
              <a:defRPr lang="en-US"/>
            </a:defPPr>
            <a:lvl1pPr marR="0" lvl="0" indent="0" defTabSz="666750" fontAlgn="auto">
              <a:lnSpc>
                <a:spcPct val="90000"/>
              </a:lnSpc>
              <a:spcBef>
                <a:spcPct val="0"/>
              </a:spcBef>
              <a:spcAft>
                <a:spcPct val="35000"/>
              </a:spcAft>
              <a:buClrTx/>
              <a:buSzTx/>
              <a:buFontTx/>
              <a:buNone/>
              <a:tabLst/>
              <a:defRPr kumimoji="0" sz="1100" b="1" i="0" u="none" strike="noStrike" kern="0" cap="none" spc="0" normalizeH="0" baseline="0">
                <a:ln>
                  <a:noFill/>
                </a:ln>
                <a:solidFill>
                  <a:srgbClr val="0E3570"/>
                </a:solidFill>
                <a:effectLst/>
                <a:uLnTx/>
                <a:uFillTx/>
                <a:latin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100" u="sng" dirty="0" smtClean="0"/>
              <a:t>Consulting Organizations</a:t>
            </a:r>
            <a:endParaRPr lang="en-US" sz="2100" u="sng" dirty="0"/>
          </a:p>
        </p:txBody>
      </p:sp>
      <p:sp>
        <p:nvSpPr>
          <p:cNvPr id="15" name="01">
            <a:extLst>
              <a:ext uri="{FF2B5EF4-FFF2-40B4-BE49-F238E27FC236}">
                <a16:creationId xmlns:a16="http://schemas.microsoft.com/office/drawing/2014/main" id="{A69023BE-D62A-D34C-AD26-C912D45A0F6A}"/>
              </a:ext>
            </a:extLst>
          </p:cNvPr>
          <p:cNvSpPr txBox="1">
            <a:spLocks/>
          </p:cNvSpPr>
          <p:nvPr/>
        </p:nvSpPr>
        <p:spPr>
          <a:xfrm>
            <a:off x="5138381" y="3609234"/>
            <a:ext cx="2820353" cy="306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marL="0" marR="0" indent="0" algn="l" defTabSz="647700" eaLnBrk="1" latinLnBrk="0" hangingPunct="1">
              <a:lnSpc>
                <a:spcPct val="90000"/>
              </a:lnSpc>
              <a:spcBef>
                <a:spcPts val="0"/>
              </a:spcBef>
              <a:spcAft>
                <a:spcPts val="0"/>
              </a:spcAft>
              <a:buClrTx/>
              <a:buSzTx/>
              <a:buFontTx/>
              <a:buNone/>
              <a:tabLst>
                <a:tab pos="508000" algn="l"/>
                <a:tab pos="1016000" algn="l"/>
                <a:tab pos="1524000" algn="l"/>
                <a:tab pos="2019300" algn="l"/>
                <a:tab pos="2527300" algn="l"/>
                <a:tab pos="3035300" algn="l"/>
                <a:tab pos="3543300" algn="l"/>
                <a:tab pos="4051300" algn="l"/>
                <a:tab pos="4559300" algn="l"/>
                <a:tab pos="5067300" algn="l"/>
                <a:tab pos="5562600" algn="l"/>
                <a:tab pos="6070600" algn="l"/>
              </a:tabLst>
              <a:defRPr sz="100000" b="0" i="0" u="none" strike="noStrike" cap="none" spc="-2000" baseline="0">
                <a:ln>
                  <a:noFill/>
                </a:ln>
                <a:solidFill>
                  <a:schemeClr val="accent6">
                    <a:lumOff val="100000"/>
                  </a:schemeClr>
                </a:solidFill>
                <a:uFillTx/>
                <a:latin typeface="Helvetica Neue LT Std 85 Heavy"/>
                <a:ea typeface="Helvetica Neue LT Std 85 Heavy"/>
                <a:cs typeface="Helvetica Neue LT Std 85 Heavy"/>
                <a:sym typeface="Helvetica Neue LT Std 85 Heavy"/>
              </a:defRPr>
            </a:lvl1pPr>
            <a:lvl2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2pPr>
            <a:lvl3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3pPr>
            <a:lvl4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4pPr>
            <a:lvl5pPr marL="0" marR="0" indent="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5pPr>
            <a:lvl6pPr marL="0" marR="0" indent="3556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6pPr>
            <a:lvl7pPr marL="0" marR="0" indent="7112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7pPr>
            <a:lvl8pPr marL="0" marR="0" indent="10668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8pPr>
            <a:lvl9pPr marL="0" marR="0" indent="1422400" algn="l" defTabSz="965200" eaLnBrk="1" latinLnBrk="0" hangingPunct="1">
              <a:lnSpc>
                <a:spcPct val="120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b="0" i="0" u="none" strike="noStrike" cap="none" spc="-225" baseline="0">
                <a:ln>
                  <a:noFill/>
                </a:ln>
                <a:solidFill>
                  <a:schemeClr val="accent6">
                    <a:lumOff val="100000"/>
                  </a:schemeClr>
                </a:solidFill>
                <a:uFillTx/>
                <a:latin typeface="Helvetica Neue LT Std 75 Bold"/>
                <a:ea typeface="Helvetica Neue LT Std 75 Bold"/>
                <a:cs typeface="Helvetica Neue LT Std 75 Bold"/>
                <a:sym typeface="Helvetica Neue LT Std 75 Bold"/>
              </a:defRPr>
            </a:lvl9pPr>
          </a:lstStyle>
          <a:p>
            <a:pPr algn="r" defTabSz="485775" fontAlgn="auto">
              <a:tabLst>
                <a:tab pos="381000" algn="l"/>
                <a:tab pos="762000" algn="l"/>
                <a:tab pos="1143000" algn="l"/>
                <a:tab pos="1514475" algn="l"/>
                <a:tab pos="1895475" algn="l"/>
                <a:tab pos="2276475" algn="l"/>
                <a:tab pos="2657475" algn="l"/>
                <a:tab pos="3038475" algn="l"/>
                <a:tab pos="3419475" algn="l"/>
                <a:tab pos="3800475" algn="l"/>
                <a:tab pos="4171950" algn="l"/>
                <a:tab pos="4552950" algn="l"/>
              </a:tabLst>
              <a:defRPr/>
            </a:pPr>
            <a:r>
              <a:rPr lang="en-US" sz="21600" kern="0" spc="-1500" dirty="0" smtClean="0">
                <a:solidFill>
                  <a:schemeClr val="tx1"/>
                </a:solidFill>
              </a:rPr>
              <a:t>05</a:t>
            </a:r>
            <a:endParaRPr lang="en-US" sz="21600" kern="0" spc="-1500" dirty="0">
              <a:solidFill>
                <a:schemeClr val="tx1"/>
              </a:solidFill>
            </a:endParaRPr>
          </a:p>
        </p:txBody>
      </p:sp>
      <p:sp>
        <p:nvSpPr>
          <p:cNvPr id="16" name="Title 7"/>
          <p:cNvSpPr>
            <a:spLocks noGrp="1"/>
          </p:cNvSpPr>
          <p:nvPr>
            <p:ph type="title"/>
          </p:nvPr>
        </p:nvSpPr>
        <p:spPr>
          <a:xfrm>
            <a:off x="4646644" y="256924"/>
            <a:ext cx="4213226" cy="916783"/>
          </a:xfrm>
        </p:spPr>
        <p:txBody>
          <a:bodyPr/>
          <a:lstStyle/>
          <a:p>
            <a:r>
              <a:rPr lang="en-US" sz="2800" dirty="0"/>
              <a:t>Transforming to an </a:t>
            </a:r>
            <a:r>
              <a:rPr lang="en-US" sz="2800" dirty="0" smtClean="0"/>
              <a:t/>
            </a:r>
            <a:br>
              <a:rPr lang="en-US" sz="2800" dirty="0" smtClean="0"/>
            </a:br>
            <a:r>
              <a:rPr lang="en-US" sz="2800" dirty="0" smtClean="0"/>
              <a:t>Intelligent Enterprise</a:t>
            </a:r>
            <a:r>
              <a:rPr lang="en-US" sz="2800" dirty="0"/>
              <a:t/>
            </a:r>
            <a:br>
              <a:rPr lang="en-US" sz="2800" dirty="0"/>
            </a:br>
            <a:endParaRPr lang="en-US" sz="2800" dirty="0"/>
          </a:p>
        </p:txBody>
      </p:sp>
    </p:spTree>
    <p:extLst>
      <p:ext uri="{BB962C8B-B14F-4D97-AF65-F5344CB8AC3E}">
        <p14:creationId xmlns:p14="http://schemas.microsoft.com/office/powerpoint/2010/main" val="197589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1">
  <a:themeElements>
    <a:clrScheme name="Custom 1">
      <a:dk1>
        <a:sysClr val="windowText" lastClr="000000"/>
      </a:dk1>
      <a:lt1>
        <a:sysClr val="window" lastClr="FFFFFF"/>
      </a:lt1>
      <a:dk2>
        <a:srgbClr val="1F497D"/>
      </a:dk2>
      <a:lt2>
        <a:srgbClr val="EEECE1"/>
      </a:lt2>
      <a:accent1>
        <a:srgbClr val="F05133"/>
      </a:accent1>
      <a:accent2>
        <a:srgbClr val="808080"/>
      </a:accent2>
      <a:accent3>
        <a:srgbClr val="4C4C4C"/>
      </a:accent3>
      <a:accent4>
        <a:srgbClr val="CCCCCC"/>
      </a:accent4>
      <a:accent5>
        <a:srgbClr val="000000"/>
      </a:accent5>
      <a:accent6>
        <a:srgbClr val="FFB800"/>
      </a:accent6>
      <a:hlink>
        <a:srgbClr val="F05133"/>
      </a:hlink>
      <a:folHlink>
        <a:srgbClr val="F051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aster 2">
  <a:themeElements>
    <a:clrScheme name="The University of Sydney_Color Theme">
      <a:dk1>
        <a:sysClr val="windowText" lastClr="000000"/>
      </a:dk1>
      <a:lt1>
        <a:sysClr val="window" lastClr="FFFFFF"/>
      </a:lt1>
      <a:dk2>
        <a:srgbClr val="0148A4"/>
      </a:dk2>
      <a:lt2>
        <a:srgbClr val="EEECE1"/>
      </a:lt2>
      <a:accent1>
        <a:srgbClr val="E64626"/>
      </a:accent1>
      <a:accent2>
        <a:srgbClr val="EF8025"/>
      </a:accent2>
      <a:accent3>
        <a:srgbClr val="FFB800"/>
      </a:accent3>
      <a:accent4>
        <a:srgbClr val="5C923E"/>
      </a:accent4>
      <a:accent5>
        <a:srgbClr val="5496DB"/>
      </a:accent5>
      <a:accent6>
        <a:srgbClr val="0148A4"/>
      </a:accent6>
      <a:hlink>
        <a:srgbClr val="E64626"/>
      </a:hlink>
      <a:folHlink>
        <a:srgbClr val="F05133"/>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25</TotalTime>
  <Words>773</Words>
  <Application>Microsoft Office PowerPoint</Application>
  <PresentationFormat>On-screen Show (16:9)</PresentationFormat>
  <Paragraphs>254</Paragraphs>
  <Slides>23</Slides>
  <Notes>22</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38" baseType="lpstr">
      <vt:lpstr>ＭＳ Ｐゴシック</vt:lpstr>
      <vt:lpstr>Arial</vt:lpstr>
      <vt:lpstr>Calibri</vt:lpstr>
      <vt:lpstr>Calibri Light</vt:lpstr>
      <vt:lpstr>Helvetica Neue LT Std 85 Heavy</vt:lpstr>
      <vt:lpstr>Lucida Grande</vt:lpstr>
      <vt:lpstr>Microsoft New Tai Lue</vt:lpstr>
      <vt:lpstr>System Font Regular</vt:lpstr>
      <vt:lpstr>Tw Cen MT</vt:lpstr>
      <vt:lpstr>Master 1</vt:lpstr>
      <vt:lpstr>Master 2</vt:lpstr>
      <vt:lpstr>Office Theme</vt:lpstr>
      <vt:lpstr>1_Office Theme</vt:lpstr>
      <vt:lpstr>2_Office Theme</vt:lpstr>
      <vt:lpstr>think-cell Slide</vt:lpstr>
      <vt:lpstr>Unlearning Decision-Making</vt:lpstr>
      <vt:lpstr>PowerPoint Presentation</vt:lpstr>
      <vt:lpstr>PowerPoint Presentation</vt:lpstr>
      <vt:lpstr>The transformation to an Intelligent Enterprise</vt:lpstr>
      <vt:lpstr>Transforming to an  Intelligent Enterprise </vt:lpstr>
      <vt:lpstr>Transforming to an  Intelligent Enterprise </vt:lpstr>
      <vt:lpstr>Transforming to an  Intelligent Enterprise </vt:lpstr>
      <vt:lpstr>Transforming to an  Intelligent Enterprise </vt:lpstr>
      <vt:lpstr>Transforming to an  Intelligent Enterprise </vt:lpstr>
      <vt:lpstr>Unlearn: to make an effort to forget your usual way of doing something so that you can learn a new and sometimes better way   </vt:lpstr>
      <vt:lpstr>What do we need to unlearn to change the decision-making culture?</vt:lpstr>
      <vt:lpstr>Working collaboratively to liberate data utilising cloud-based technologies</vt:lpstr>
      <vt:lpstr>Target Conceptual Architecture</vt:lpstr>
      <vt:lpstr>Making crucial information more accessible via persona-based and self-serve analytics </vt:lpstr>
      <vt:lpstr>Creating a federated approach to share and connect people and data</vt:lpstr>
      <vt:lpstr>Implementing data governance to ensure accurate, consistent data is available</vt:lpstr>
      <vt:lpstr>Data Governance</vt:lpstr>
      <vt:lpstr>So… Where do we start?</vt:lpstr>
      <vt:lpstr>An advisory &amp; design led approach…</vt:lpstr>
      <vt:lpstr>PowerPoint Presentation</vt:lpstr>
      <vt:lpstr>PowerPoint Presentation</vt:lpstr>
      <vt:lpstr>Session Evaluations There are two ways to access the session and presenter evaluations:</vt:lpstr>
      <vt:lpstr>Contact Information </vt:lpstr>
    </vt:vector>
  </TitlesOfParts>
  <Company>University of Sydney and Wip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Evelyn Lloveda</dc:creator>
  <cp:lastModifiedBy>Shekaran Sury (DAAI - A&amp;AI Consulting)</cp:lastModifiedBy>
  <cp:revision>241</cp:revision>
  <dcterms:modified xsi:type="dcterms:W3CDTF">2019-10-10T18: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9a70571-31c6-4603-80c1-ef2fb871a62a_Enabled">
    <vt:lpwstr>True</vt:lpwstr>
  </property>
  <property fmtid="{D5CDD505-2E9C-101B-9397-08002B2CF9AE}" pid="3" name="MSIP_Label_b9a70571-31c6-4603-80c1-ef2fb871a62a_SiteId">
    <vt:lpwstr>258ac4e4-146a-411e-9dc8-79a9e12fd6da</vt:lpwstr>
  </property>
  <property fmtid="{D5CDD505-2E9C-101B-9397-08002B2CF9AE}" pid="4" name="MSIP_Label_b9a70571-31c6-4603-80c1-ef2fb871a62a_Owner">
    <vt:lpwstr>scshekar@wipro.com</vt:lpwstr>
  </property>
  <property fmtid="{D5CDD505-2E9C-101B-9397-08002B2CF9AE}" pid="5" name="MSIP_Label_b9a70571-31c6-4603-80c1-ef2fb871a62a_SetDate">
    <vt:lpwstr>2019-10-10T16:40:27.3086946Z</vt:lpwstr>
  </property>
  <property fmtid="{D5CDD505-2E9C-101B-9397-08002B2CF9AE}" pid="6" name="MSIP_Label_b9a70571-31c6-4603-80c1-ef2fb871a62a_Name">
    <vt:lpwstr>Internal and Restricted</vt:lpwstr>
  </property>
  <property fmtid="{D5CDD505-2E9C-101B-9397-08002B2CF9AE}" pid="7" name="MSIP_Label_b9a70571-31c6-4603-80c1-ef2fb871a62a_Application">
    <vt:lpwstr>Microsoft Azure Information Protection</vt:lpwstr>
  </property>
  <property fmtid="{D5CDD505-2E9C-101B-9397-08002B2CF9AE}" pid="8" name="MSIP_Label_b9a70571-31c6-4603-80c1-ef2fb871a62a_ActionId">
    <vt:lpwstr>43b965ac-8a23-4fdb-9393-f2c3d69175c4</vt:lpwstr>
  </property>
  <property fmtid="{D5CDD505-2E9C-101B-9397-08002B2CF9AE}" pid="9" name="MSIP_Label_b9a70571-31c6-4603-80c1-ef2fb871a62a_Extended_MSFT_Method">
    <vt:lpwstr>Automatic</vt:lpwstr>
  </property>
  <property fmtid="{D5CDD505-2E9C-101B-9397-08002B2CF9AE}" pid="10" name="Sensitivity">
    <vt:lpwstr>Internal and Restricted</vt:lpwstr>
  </property>
</Properties>
</file>